
<file path=[Content_Types].xml><?xml version="1.0" encoding="utf-8"?>
<Types xmlns="http://schemas.openxmlformats.org/package/2006/content-types">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43" r:id="rId4"/>
  </p:sldMasterIdLst>
  <p:notesMasterIdLst>
    <p:notesMasterId r:id="rId15"/>
  </p:notesMasterIdLst>
  <p:handoutMasterIdLst>
    <p:handoutMasterId r:id="rId16"/>
  </p:handoutMasterIdLst>
  <p:sldIdLst>
    <p:sldId id="2147480369" r:id="rId5"/>
    <p:sldId id="3668" r:id="rId6"/>
    <p:sldId id="2147480361" r:id="rId7"/>
    <p:sldId id="2147480365" r:id="rId8"/>
    <p:sldId id="2147480374" r:id="rId9"/>
    <p:sldId id="2147480373" r:id="rId10"/>
    <p:sldId id="2147480366" r:id="rId11"/>
    <p:sldId id="3785" r:id="rId12"/>
    <p:sldId id="2147480375" r:id="rId13"/>
    <p:sldId id="2147480371" r:id="rId14"/>
  </p:sldIdLst>
  <p:sldSz cx="12192000" cy="6858000"/>
  <p:notesSz cx="6858000" cy="9144000"/>
  <p:embeddedFontLst>
    <p:embeddedFont>
      <p:font typeface="Crimson Pro" pitchFamily="2" charset="0"/>
      <p:regular r:id="rId17"/>
      <p:bold r:id="rId18"/>
      <p:italic r:id="rId19"/>
      <p:boldItalic r:id="rId20"/>
    </p:embeddedFont>
    <p:embeddedFont>
      <p:font typeface="Crimson Pro (Body)" panose="020B0604020202020204" charset="0"/>
      <p:regular r:id="rId21"/>
      <p:bold r:id="rId22"/>
      <p:italic r:id="rId23"/>
      <p:boldItalic r:id="rId24"/>
    </p:embeddedFont>
    <p:embeddedFont>
      <p:font typeface="Inter" panose="02000503000000020004" pitchFamily="2" charset="0"/>
      <p:regular r:id="rId25"/>
      <p:bold r:id="rId26"/>
      <p:italic r:id="rId27"/>
      <p:boldItalic r:id="rId28"/>
    </p:embeddedFont>
    <p:embeddedFont>
      <p:font typeface="Segoe UI" panose="020B0502040204020203" pitchFamily="34" charset="0"/>
      <p:regular r:id="rId29"/>
      <p:bold r:id="rId30"/>
      <p:italic r:id="rId31"/>
      <p:boldItalic r:id="rId32"/>
    </p:embeddedFont>
  </p:embeddedFont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ynamic Activation User" initials="DAU" lastIdx="1" clrIdx="0">
    <p:extLst>
      <p:ext uri="{19B8F6BF-5375-455C-9EA6-DF929625EA0E}">
        <p15:presenceInfo xmlns:p15="http://schemas.microsoft.com/office/powerpoint/2012/main" userId="S::dynact1@miotest.onmicrosoft.com::58c15c34-f73c-4b58-8d39-6a8a170396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9EC"/>
    <a:srgbClr val="F0F2F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1FDBBE-0B2A-4C04-9248-2B7276BEDDA9}" v="1" dt="2026-02-09T07:19:58.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9" autoAdjust="0"/>
    <p:restoredTop sz="95280" autoAdjust="0"/>
  </p:normalViewPr>
  <p:slideViewPr>
    <p:cSldViewPr showGuides="1">
      <p:cViewPr varScale="1">
        <p:scale>
          <a:sx n="59" d="100"/>
          <a:sy n="59" d="100"/>
        </p:scale>
        <p:origin x="856"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122" d="100"/>
          <a:sy n="122" d="100"/>
        </p:scale>
        <p:origin x="5004" y="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6/11/relationships/changesInfo" Target="changesInfos/changesInfo1.xml"/><Relationship Id="rId21" Type="http://schemas.openxmlformats.org/officeDocument/2006/relationships/font" Target="fonts/font5.fntdata"/><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eid, Martin" userId="bc0b3702-8d7e-4ec9-8d8e-d963ea2d4261" providerId="ADAL" clId="{478BF9DF-0389-4527-9C42-75803F3C835C}"/>
    <pc:docChg chg="undo custSel addSld delSld modSld">
      <pc:chgData name="Scheid, Martin" userId="bc0b3702-8d7e-4ec9-8d8e-d963ea2d4261" providerId="ADAL" clId="{478BF9DF-0389-4527-9C42-75803F3C835C}" dt="2026-02-09T07:20:02.289" v="23" actId="1076"/>
      <pc:docMkLst>
        <pc:docMk/>
      </pc:docMkLst>
      <pc:sldChg chg="addSp delSp modSp mod">
        <pc:chgData name="Scheid, Martin" userId="bc0b3702-8d7e-4ec9-8d8e-d963ea2d4261" providerId="ADAL" clId="{478BF9DF-0389-4527-9C42-75803F3C835C}" dt="2026-01-27T07:47:37.231" v="7" actId="22"/>
        <pc:sldMkLst>
          <pc:docMk/>
          <pc:sldMk cId="2538436450" sldId="3668"/>
        </pc:sldMkLst>
      </pc:sldChg>
      <pc:sldChg chg="addSp delSp mod">
        <pc:chgData name="Scheid, Martin" userId="bc0b3702-8d7e-4ec9-8d8e-d963ea2d4261" providerId="ADAL" clId="{478BF9DF-0389-4527-9C42-75803F3C835C}" dt="2026-01-27T07:50:58.807" v="9" actId="22"/>
        <pc:sldMkLst>
          <pc:docMk/>
          <pc:sldMk cId="2158972729" sldId="2147480369"/>
        </pc:sldMkLst>
      </pc:sldChg>
      <pc:sldChg chg="delSp modSp mod">
        <pc:chgData name="Scheid, Martin" userId="bc0b3702-8d7e-4ec9-8d8e-d963ea2d4261" providerId="ADAL" clId="{478BF9DF-0389-4527-9C42-75803F3C835C}" dt="2026-02-02T12:06:20.654" v="19" actId="14100"/>
        <pc:sldMkLst>
          <pc:docMk/>
          <pc:sldMk cId="3503628059" sldId="2147480373"/>
        </pc:sldMkLst>
        <pc:spChg chg="mod">
          <ac:chgData name="Scheid, Martin" userId="bc0b3702-8d7e-4ec9-8d8e-d963ea2d4261" providerId="ADAL" clId="{478BF9DF-0389-4527-9C42-75803F3C835C}" dt="2026-01-23T09:40:13.361" v="0" actId="313"/>
          <ac:spMkLst>
            <pc:docMk/>
            <pc:sldMk cId="3503628059" sldId="2147480373"/>
            <ac:spMk id="4" creationId="{C27B84F6-B28E-87DC-4C6E-90DF4E666CE8}"/>
          </ac:spMkLst>
        </pc:spChg>
        <pc:spChg chg="mod">
          <ac:chgData name="Scheid, Martin" userId="bc0b3702-8d7e-4ec9-8d8e-d963ea2d4261" providerId="ADAL" clId="{478BF9DF-0389-4527-9C42-75803F3C835C}" dt="2026-02-02T12:06:18.125" v="18" actId="14100"/>
          <ac:spMkLst>
            <pc:docMk/>
            <pc:sldMk cId="3503628059" sldId="2147480373"/>
            <ac:spMk id="9" creationId="{0B299A37-836E-45BE-5CBA-23CBD7F2D0BF}"/>
          </ac:spMkLst>
        </pc:spChg>
        <pc:spChg chg="mod">
          <ac:chgData name="Scheid, Martin" userId="bc0b3702-8d7e-4ec9-8d8e-d963ea2d4261" providerId="ADAL" clId="{478BF9DF-0389-4527-9C42-75803F3C835C}" dt="2026-02-02T12:06:20.654" v="19" actId="14100"/>
          <ac:spMkLst>
            <pc:docMk/>
            <pc:sldMk cId="3503628059" sldId="2147480373"/>
            <ac:spMk id="10" creationId="{9725BC9F-41D0-F050-E8CF-5D3EF3E03969}"/>
          </ac:spMkLst>
        </pc:spChg>
      </pc:sldChg>
      <pc:sldChg chg="addSp modSp new mod modAnim">
        <pc:chgData name="Scheid, Martin" userId="bc0b3702-8d7e-4ec9-8d8e-d963ea2d4261" providerId="ADAL" clId="{478BF9DF-0389-4527-9C42-75803F3C835C}" dt="2026-02-09T07:20:02.289" v="23" actId="1076"/>
        <pc:sldMkLst>
          <pc:docMk/>
          <pc:sldMk cId="2929758724" sldId="2147480375"/>
        </pc:sldMkLst>
        <pc:picChg chg="add mod">
          <ac:chgData name="Scheid, Martin" userId="bc0b3702-8d7e-4ec9-8d8e-d963ea2d4261" providerId="ADAL" clId="{478BF9DF-0389-4527-9C42-75803F3C835C}" dt="2026-02-09T07:20:02.289" v="23" actId="1076"/>
          <ac:picMkLst>
            <pc:docMk/>
            <pc:sldMk cId="2929758724" sldId="2147480375"/>
            <ac:picMk id="4" creationId="{EC4D9758-AC2E-1661-B894-411EE27C3105}"/>
          </ac:picMkLst>
        </pc:picChg>
      </pc:sldChg>
      <pc:sldMasterChg chg="delSldLayout">
        <pc:chgData name="Scheid, Martin" userId="bc0b3702-8d7e-4ec9-8d8e-d963ea2d4261" providerId="ADAL" clId="{478BF9DF-0389-4527-9C42-75803F3C835C}" dt="2026-01-27T10:23:20.742" v="15" actId="47"/>
        <pc:sldMasterMkLst>
          <pc:docMk/>
          <pc:sldMasterMk cId="3084865077" sldId="2147483743"/>
        </pc:sldMasterMkLst>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C11139-5238-E9C0-0310-40A4D5AEB10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1FE8A16-7771-701D-10B5-4F824C630A9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7BB5F3-C67C-4F80-B80E-CF28E4E9434F}" type="datetimeFigureOut">
              <a:rPr lang="en-US"/>
              <a:t>2/9/2026</a:t>
            </a:fld>
            <a:endParaRPr lang="en-US"/>
          </a:p>
        </p:txBody>
      </p:sp>
      <p:sp>
        <p:nvSpPr>
          <p:cNvPr id="4" name="Footer Placeholder 3">
            <a:extLst>
              <a:ext uri="{FF2B5EF4-FFF2-40B4-BE49-F238E27FC236}">
                <a16:creationId xmlns:a16="http://schemas.microsoft.com/office/drawing/2014/main" id="{6C7CEA6F-D2D0-F122-C01D-BC6D30B75B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F9CFD2B-C5BD-A80E-6242-7FF9DF4EC61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1D0C288-5FFF-4C7F-B172-CC9125014403}" type="slidenum">
              <a:rPr lang="en-US"/>
              <a:t>‹#›</a:t>
            </a:fld>
            <a:endParaRPr lang="en-US"/>
          </a:p>
        </p:txBody>
      </p:sp>
    </p:spTree>
    <p:extLst>
      <p:ext uri="{BB962C8B-B14F-4D97-AF65-F5344CB8AC3E}">
        <p14:creationId xmlns:p14="http://schemas.microsoft.com/office/powerpoint/2010/main" val="48893541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8F1D1C-90D0-4F00-9BA3-077A17EF5B50}" type="datetimeFigureOut">
              <a:rPr lang="en-US"/>
              <a:t>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7BCB16-00DD-4F07-8367-2CC6834612CA}" type="slidenum">
              <a:rPr lang="en-US"/>
              <a:t>‹#›</a:t>
            </a:fld>
            <a:endParaRPr lang="en-US"/>
          </a:p>
        </p:txBody>
      </p:sp>
    </p:spTree>
    <p:extLst>
      <p:ext uri="{BB962C8B-B14F-4D97-AF65-F5344CB8AC3E}">
        <p14:creationId xmlns:p14="http://schemas.microsoft.com/office/powerpoint/2010/main" val="2189200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a:p>
        </p:txBody>
      </p:sp>
    </p:spTree>
    <p:extLst>
      <p:ext uri="{BB962C8B-B14F-4D97-AF65-F5344CB8AC3E}">
        <p14:creationId xmlns:p14="http://schemas.microsoft.com/office/powerpoint/2010/main" val="4270058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anual processing </a:t>
            </a:r>
            <a:r>
              <a:rPr lang="en-US" b="0"/>
              <a:t>improvements</a:t>
            </a:r>
            <a:br>
              <a:rPr lang="en-US" b="0"/>
            </a:br>
            <a:r>
              <a:rPr lang="en-US" b="0"/>
              <a:t>Lean redesign, role clarification, better work instructions, and system configuration tweaks.</a:t>
            </a:r>
          </a:p>
          <a:p>
            <a:r>
              <a:rPr lang="en-US" b="0"/>
              <a:t>RPA</a:t>
            </a:r>
            <a:br>
              <a:rPr lang="en-US"/>
            </a:br>
            <a:r>
              <a:rPr lang="en-US"/>
              <a:t>Quick automation of repetitive user-interface actions, but with maintenance overhead and limited adaptability.</a:t>
            </a:r>
          </a:p>
          <a:p>
            <a:r>
              <a:rPr lang="en-US" b="1"/>
              <a:t>Agentic AI</a:t>
            </a:r>
            <a:br>
              <a:rPr lang="en-US"/>
            </a:br>
            <a:r>
              <a:rPr lang="en-US"/>
              <a:t>More flexible “digital workforce” for non-deterministic tasks (e.g., semi-structured document interpretation, exception handling), but with governance, auditability, and risk considerations.</a:t>
            </a:r>
          </a:p>
          <a:p>
            <a:endParaRPr lang="en-US"/>
          </a:p>
          <a:p>
            <a:r>
              <a:rPr lang="en-US"/>
              <a:t>The CEO team sees competing claims:</a:t>
            </a:r>
          </a:p>
          <a:p>
            <a:pPr marL="171450" indent="-171450">
              <a:buFont typeface="Arial" panose="020B0604020202020204" pitchFamily="34" charset="0"/>
              <a:buChar char="•"/>
            </a:pPr>
            <a:r>
              <a:rPr lang="en-US"/>
              <a:t>Operations prefers incremental manual improvement first.</a:t>
            </a:r>
          </a:p>
          <a:p>
            <a:pPr marL="171450" indent="-171450">
              <a:buFont typeface="Arial" panose="020B0604020202020204" pitchFamily="34" charset="0"/>
              <a:buChar char="•"/>
            </a:pPr>
            <a:r>
              <a:rPr lang="en-US"/>
              <a:t>Digital IT advocates RPA for speed-to-value.</a:t>
            </a:r>
          </a:p>
          <a:p>
            <a:pPr marL="171450" indent="-171450">
              <a:buFont typeface="Arial" panose="020B0604020202020204" pitchFamily="34" charset="0"/>
              <a:buChar char="•"/>
            </a:pPr>
            <a:r>
              <a:rPr lang="en-US"/>
              <a:t>Innovation leadership argues for agentic AI to future-proof capability.</a:t>
            </a:r>
          </a:p>
          <a:p>
            <a:pPr marL="171450" indent="-171450">
              <a:buFont typeface="Arial" panose="020B0604020202020204" pitchFamily="34" charset="0"/>
              <a:buChar char="•"/>
            </a:pPr>
            <a:endParaRPr lang="en-US"/>
          </a:p>
          <a:p>
            <a:r>
              <a:rPr lang="en-US" b="1"/>
              <a:t>Why existing approaches fail</a:t>
            </a:r>
          </a:p>
          <a:p>
            <a:pPr marL="171450" indent="-171450">
              <a:buFont typeface="Arial" panose="020B0604020202020204" pitchFamily="34" charset="0"/>
              <a:buChar char="•"/>
            </a:pPr>
            <a:r>
              <a:rPr lang="en-US"/>
              <a:t>Spreadsheet cases ignore process variability and resource contention.</a:t>
            </a:r>
          </a:p>
          <a:p>
            <a:pPr marL="171450" indent="-171450">
              <a:buFont typeface="Arial" panose="020B0604020202020204" pitchFamily="34" charset="0"/>
              <a:buChar char="•"/>
            </a:pPr>
            <a:r>
              <a:rPr lang="en-US"/>
              <a:t>Vendor ROI calculators assume ideal conditions.</a:t>
            </a:r>
          </a:p>
          <a:p>
            <a:pPr marL="171450" indent="-171450">
              <a:buFont typeface="Arial" panose="020B0604020202020204" pitchFamily="34" charset="0"/>
              <a:buChar char="•"/>
            </a:pPr>
            <a:r>
              <a:rPr lang="en-US"/>
              <a:t>Pilot-first approaches are slow and expensive, and they risk selecting a suboptimal design that becomes difficult to unwind.</a:t>
            </a:r>
          </a:p>
          <a:p>
            <a:pPr marL="171450" indent="-171450">
              <a:buFont typeface="Arial" panose="020B0604020202020204" pitchFamily="34" charset="0"/>
              <a:buChar char="•"/>
            </a:pPr>
            <a:r>
              <a:rPr lang="en-US"/>
              <a:t>Agentic AI proposals raise governance questions that require measurable simulation evidence rather than narrative promis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Which option produces the best outcome? given real demand variability, exception rates, compliance constraints, and workforce capacity?</a:t>
            </a:r>
          </a:p>
          <a:p>
            <a:pPr marL="0" indent="0">
              <a:buFont typeface="Arial" panose="020B0604020202020204" pitchFamily="34" charset="0"/>
              <a:buNone/>
            </a:pPr>
            <a:endParaRPr lang="en-DE"/>
          </a:p>
        </p:txBody>
      </p:sp>
      <p:sp>
        <p:nvSpPr>
          <p:cNvPr id="4" name="Slide Number Placeholder 3"/>
          <p:cNvSpPr>
            <a:spLocks noGrp="1"/>
          </p:cNvSpPr>
          <p:nvPr>
            <p:ph type="sldNum" sz="quarter" idx="5"/>
          </p:nvPr>
        </p:nvSpPr>
        <p:spPr/>
        <p:txBody>
          <a:bodyPr/>
          <a:lstStyle/>
          <a:p>
            <a:fld id="{AC7BCB16-00DD-4F07-8367-2CC6834612CA}" type="slidenum">
              <a:rPr lang="en-US" smtClean="0"/>
              <a:t>6</a:t>
            </a:fld>
            <a:endParaRPr lang="en-US"/>
          </a:p>
        </p:txBody>
      </p:sp>
    </p:spTree>
    <p:extLst>
      <p:ext uri="{BB962C8B-B14F-4D97-AF65-F5344CB8AC3E}">
        <p14:creationId xmlns:p14="http://schemas.microsoft.com/office/powerpoint/2010/main" val="2423012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RIS Simulation combines:</a:t>
            </a:r>
          </a:p>
          <a:p>
            <a:r>
              <a:rPr lang="en-US" b="1"/>
              <a:t>Process model structure</a:t>
            </a:r>
            <a:r>
              <a:rPr lang="en-US"/>
              <a:t> (as-is and potential to-be variants),</a:t>
            </a:r>
          </a:p>
          <a:p>
            <a:r>
              <a:rPr lang="en-US" b="1"/>
              <a:t>Operational parameters</a:t>
            </a:r>
            <a:r>
              <a:rPr lang="en-US"/>
              <a:t> (arrival rates, resource calendars, skill constraints),</a:t>
            </a:r>
          </a:p>
          <a:p>
            <a:r>
              <a:rPr lang="en-US" b="1"/>
              <a:t>Cost and risk assumptions</a:t>
            </a:r>
            <a:r>
              <a:rPr lang="en-US"/>
              <a:t>, and</a:t>
            </a:r>
          </a:p>
          <a:p>
            <a:r>
              <a:rPr lang="en-US" b="1"/>
              <a:t>Automation-specific performance profiles</a:t>
            </a:r>
            <a:r>
              <a:rPr lang="en-US"/>
              <a:t> (RPA throughput, AI success rate, human fallback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o run scenario simulations and report predictions in business terms.</a:t>
            </a:r>
          </a:p>
          <a:p>
            <a:endParaRPr lang="en-US"/>
          </a:p>
        </p:txBody>
      </p:sp>
      <p:sp>
        <p:nvSpPr>
          <p:cNvPr id="4" name="Slide Number Placeholder 3"/>
          <p:cNvSpPr>
            <a:spLocks noGrp="1"/>
          </p:cNvSpPr>
          <p:nvPr>
            <p:ph type="sldNum" sz="quarter" idx="5"/>
          </p:nvPr>
        </p:nvSpPr>
        <p:spPr/>
        <p:txBody>
          <a:bodyPr/>
          <a:lstStyle/>
          <a:p>
            <a:fld id="{83316E30-EEB7-4740-B0AB-5BFB7F8E5764}" type="slidenum">
              <a:rPr lang="en-DE" smtClean="0"/>
              <a:t>8</a:t>
            </a:fld>
            <a:endParaRPr lang="en-DE"/>
          </a:p>
        </p:txBody>
      </p:sp>
    </p:spTree>
    <p:extLst>
      <p:ext uri="{BB962C8B-B14F-4D97-AF65-F5344CB8AC3E}">
        <p14:creationId xmlns:p14="http://schemas.microsoft.com/office/powerpoint/2010/main" val="3803869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 Green">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994774-B8CB-762C-57E2-F85C72CCAB99}"/>
              </a:ext>
            </a:extLst>
          </p:cNvPr>
          <p:cNvSpPr/>
          <p:nvPr userDrawn="1"/>
        </p:nvSpPr>
        <p:spPr>
          <a:xfrm>
            <a:off x="10200456" y="5980615"/>
            <a:ext cx="1728192" cy="6170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nk and black logo&#10;&#10;AI-generated content may be incorrect.">
            <a:extLst>
              <a:ext uri="{FF2B5EF4-FFF2-40B4-BE49-F238E27FC236}">
                <a16:creationId xmlns:a16="http://schemas.microsoft.com/office/drawing/2014/main" id="{9B50A31A-5E9F-8775-1665-E85BEA933C4B}"/>
              </a:ext>
            </a:extLst>
          </p:cNvPr>
          <p:cNvPicPr>
            <a:picLocks noChangeAspect="1"/>
          </p:cNvPicPr>
          <p:nvPr userDrawn="1"/>
        </p:nvPicPr>
        <p:blipFill>
          <a:blip r:embed="rId4">
            <a:extLst>
              <a:ext uri="{28A0092B-C50C-407E-A947-70E740481C1C}">
                <a14:useLocalDpi xmlns:a14="http://schemas.microsoft.com/office/drawing/2010/main" val="0"/>
              </a:ext>
            </a:extLst>
          </a:blip>
          <a:srcRect t="12406" r="33376" b="12404"/>
          <a:stretch>
            <a:fillRect/>
          </a:stretch>
        </p:blipFill>
        <p:spPr>
          <a:xfrm>
            <a:off x="6530987" y="-1"/>
            <a:ext cx="5661013" cy="6858001"/>
          </a:xfrm>
          <a:prstGeom prst="rect">
            <a:avLst/>
          </a:prstGeom>
        </p:spPr>
      </p:pic>
      <p:sp>
        <p:nvSpPr>
          <p:cNvPr id="2" name="Title 1">
            <a:extLst>
              <a:ext uri="{FF2B5EF4-FFF2-40B4-BE49-F238E27FC236}">
                <a16:creationId xmlns:a16="http://schemas.microsoft.com/office/drawing/2014/main" id="{11FE9F2A-7318-AC26-3DE6-62E08DA71BD4}"/>
              </a:ext>
            </a:extLst>
          </p:cNvPr>
          <p:cNvSpPr>
            <a:spLocks noGrp="1"/>
          </p:cNvSpPr>
          <p:nvPr>
            <p:ph type="ctrTitle" hasCustomPrompt="1"/>
          </p:nvPr>
        </p:nvSpPr>
        <p:spPr>
          <a:xfrm>
            <a:off x="550864" y="333374"/>
            <a:ext cx="6048000" cy="3311649"/>
          </a:xfrm>
          <a:prstGeom prst="rect">
            <a:avLst/>
          </a:prstGeom>
        </p:spPr>
        <p:txBody>
          <a:bodyPr anchor="b"/>
          <a:lstStyle>
            <a:lvl1pPr algn="l">
              <a:defRPr sz="4800">
                <a:solidFill>
                  <a:schemeClr val="accent1"/>
                </a:solidFill>
              </a:defRPr>
            </a:lvl1pPr>
          </a:lstStyle>
          <a:p>
            <a:r>
              <a:rPr lang="en-US" dirty="0"/>
              <a:t>Click to edit </a:t>
            </a:r>
            <a:br>
              <a:rPr lang="en-US" dirty="0"/>
            </a:br>
            <a:r>
              <a:rPr lang="en-US" dirty="0"/>
              <a:t>Master title style</a:t>
            </a:r>
          </a:p>
        </p:txBody>
      </p:sp>
      <p:sp>
        <p:nvSpPr>
          <p:cNvPr id="3" name="Subtitle 2">
            <a:extLst>
              <a:ext uri="{FF2B5EF4-FFF2-40B4-BE49-F238E27FC236}">
                <a16:creationId xmlns:a16="http://schemas.microsoft.com/office/drawing/2014/main" id="{E032040C-23D8-AE60-4487-2FD98B923ED9}"/>
              </a:ext>
            </a:extLst>
          </p:cNvPr>
          <p:cNvSpPr>
            <a:spLocks noGrp="1"/>
          </p:cNvSpPr>
          <p:nvPr>
            <p:ph type="subTitle" idx="1"/>
          </p:nvPr>
        </p:nvSpPr>
        <p:spPr>
          <a:xfrm>
            <a:off x="550864" y="3789363"/>
            <a:ext cx="5472000" cy="648146"/>
          </a:xfrm>
          <a:prstGeom prst="rect">
            <a:avLst/>
          </a:prstGeom>
        </p:spPr>
        <p:txBody>
          <a:bodyPr>
            <a:normAutofit/>
          </a:bodyPr>
          <a:lstStyle>
            <a:lvl1pPr marL="0" marR="0" indent="0" algn="l" defTabSz="914400" rtl="0" eaLnBrk="1" fontAlgn="auto" latinLnBrk="0" hangingPunct="1">
              <a:lnSpc>
                <a:spcPct val="120000"/>
              </a:lnSpc>
              <a:spcBef>
                <a:spcPts val="0"/>
              </a:spcBef>
              <a:spcAft>
                <a:spcPts val="765"/>
              </a:spcAft>
              <a:buClrTx/>
              <a:buSzTx/>
              <a:buFont typeface="Arial" panose="020B0604020202020204" pitchFamily="34" charset="0"/>
              <a:buNone/>
              <a:tabLst/>
              <a:defRPr sz="1600" b="0">
                <a:latin typeface="Crimson Pro (Body)"/>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20000"/>
              </a:lnSpc>
              <a:spcBef>
                <a:spcPts val="0"/>
              </a:spcBef>
              <a:spcAft>
                <a:spcPts val="765"/>
              </a:spcAft>
              <a:buClrTx/>
              <a:buSzTx/>
              <a:buFont typeface="Arial" panose="020B0604020202020204" pitchFamily="34" charset="0"/>
              <a:buNone/>
              <a:tabLst/>
              <a:defRPr/>
            </a:pPr>
            <a:r>
              <a:rPr lang="en-US"/>
              <a:t>Click to edit Master subtitle style</a:t>
            </a:r>
          </a:p>
        </p:txBody>
      </p:sp>
      <p:sp>
        <p:nvSpPr>
          <p:cNvPr id="10" name="Text Placeholder 9">
            <a:extLst>
              <a:ext uri="{FF2B5EF4-FFF2-40B4-BE49-F238E27FC236}">
                <a16:creationId xmlns:a16="http://schemas.microsoft.com/office/drawing/2014/main" id="{7333D6F9-FB02-AAAF-C762-BF390817EAE0}"/>
              </a:ext>
            </a:extLst>
          </p:cNvPr>
          <p:cNvSpPr>
            <a:spLocks noGrp="1"/>
          </p:cNvSpPr>
          <p:nvPr>
            <p:ph type="body" sz="quarter" idx="10"/>
          </p:nvPr>
        </p:nvSpPr>
        <p:spPr>
          <a:xfrm>
            <a:off x="550863" y="4725144"/>
            <a:ext cx="5473700" cy="143272"/>
          </a:xfrm>
        </p:spPr>
        <p:txBody>
          <a:bodyPr>
            <a:noAutofit/>
          </a:bodyPr>
          <a:lstStyle>
            <a:lvl1pPr algn="l">
              <a:lnSpc>
                <a:spcPct val="100000"/>
              </a:lnSpc>
              <a:defRPr sz="1000">
                <a:latin typeface="Crimson Pro (Body)"/>
              </a:defRPr>
            </a:lvl1pPr>
            <a:lvl2pPr marL="7937"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E06F973E-40CA-36C2-8B94-CA50673DD72F}"/>
              </a:ext>
            </a:extLst>
          </p:cNvPr>
          <p:cNvGrpSpPr>
            <a:grpSpLocks noChangeAspect="1"/>
          </p:cNvGrpSpPr>
          <p:nvPr userDrawn="1"/>
        </p:nvGrpSpPr>
        <p:grpSpPr>
          <a:xfrm>
            <a:off x="550863" y="5877272"/>
            <a:ext cx="1396289" cy="576000"/>
            <a:chOff x="10633946" y="6180322"/>
            <a:chExt cx="1005290" cy="414704"/>
          </a:xfrm>
        </p:grpSpPr>
        <p:grpSp>
          <p:nvGrpSpPr>
            <p:cNvPr id="8" name="Graphic 3">
              <a:extLst>
                <a:ext uri="{FF2B5EF4-FFF2-40B4-BE49-F238E27FC236}">
                  <a16:creationId xmlns:a16="http://schemas.microsoft.com/office/drawing/2014/main" id="{9B5E0A6A-A26E-E1D5-F4A3-2A02C4731F5C}"/>
                </a:ext>
              </a:extLst>
            </p:cNvPr>
            <p:cNvGrpSpPr/>
            <p:nvPr/>
          </p:nvGrpSpPr>
          <p:grpSpPr>
            <a:xfrm>
              <a:off x="10633946" y="6180322"/>
              <a:ext cx="1005290" cy="414704"/>
              <a:chOff x="10633946" y="6180322"/>
              <a:chExt cx="1005290" cy="414704"/>
            </a:xfrm>
          </p:grpSpPr>
          <p:sp>
            <p:nvSpPr>
              <p:cNvPr id="12" name="Freeform: Shape 11">
                <a:extLst>
                  <a:ext uri="{FF2B5EF4-FFF2-40B4-BE49-F238E27FC236}">
                    <a16:creationId xmlns:a16="http://schemas.microsoft.com/office/drawing/2014/main" id="{04E0B5A1-494A-D0BB-C110-8625F8AEF4BE}"/>
                  </a:ext>
                </a:extLst>
              </p:cNvPr>
              <p:cNvSpPr/>
              <p:nvPr/>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C046265-2E3A-3F19-1D09-DC20357174B4}"/>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rgbClr val="002F2C"/>
              </a:solidFill>
              <a:ln w="1334" cap="flat">
                <a:noFill/>
                <a:prstDash val="solid"/>
                <a:miter/>
              </a:ln>
            </p:spPr>
            <p:txBody>
              <a:bodyPr rtlCol="0" anchor="ctr"/>
              <a:lstStyle/>
              <a:p>
                <a:endParaRPr lang="en-US"/>
              </a:p>
            </p:txBody>
          </p:sp>
        </p:grpSp>
        <p:sp>
          <p:nvSpPr>
            <p:cNvPr id="9" name="Freeform: Shape 8">
              <a:extLst>
                <a:ext uri="{FF2B5EF4-FFF2-40B4-BE49-F238E27FC236}">
                  <a16:creationId xmlns:a16="http://schemas.microsoft.com/office/drawing/2014/main" id="{030A3520-CA57-5D08-1E57-666F356CFE38}"/>
                </a:ext>
              </a:extLst>
            </p:cNvPr>
            <p:cNvSpPr/>
            <p:nvPr userDrawn="1"/>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0766E4C-0A2F-0020-5456-A488A2C59649}"/>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grpSp>
      <p:sp>
        <p:nvSpPr>
          <p:cNvPr id="4" name="Flight Mode" hidden="1">
            <a:extLst>
              <a:ext uri="{FF2B5EF4-FFF2-40B4-BE49-F238E27FC236}">
                <a16:creationId xmlns:a16="http://schemas.microsoft.com/office/drawing/2014/main" id="{80757517-3382-B267-511E-BAF8034C7573}"/>
              </a:ext>
            </a:extLst>
          </p:cNvPr>
          <p:cNvSpPr/>
          <p:nvPr userDrawn="1">
            <p:custDataLst>
              <p:tags r:id="rId1"/>
            </p:custDataLst>
          </p:nvPr>
        </p:nvSpPr>
        <p:spPr>
          <a:xfrm>
            <a:off x="401587" y="5785839"/>
            <a:ext cx="1615733" cy="73878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6" name="MIO_Placeholder_Mapping" hidden="1">
            <a:extLst>
              <a:ext uri="{FF2B5EF4-FFF2-40B4-BE49-F238E27FC236}">
                <a16:creationId xmlns:a16="http://schemas.microsoft.com/office/drawing/2014/main" id="{9B5D52EB-2167-13C5-715E-517545289E54}"/>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845776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4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47960-1146-F72F-3D8D-A723C13CFDEC}"/>
              </a:ext>
            </a:extLst>
          </p:cNvPr>
          <p:cNvSpPr>
            <a:spLocks noGrp="1"/>
          </p:cNvSpPr>
          <p:nvPr>
            <p:ph type="title"/>
          </p:nvPr>
        </p:nvSpPr>
        <p:spPr>
          <a:xfrm>
            <a:off x="550862"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543C1026-D429-B46F-DDB7-7589B271F05E}"/>
              </a:ext>
            </a:extLst>
          </p:cNvPr>
          <p:cNvSpPr>
            <a:spLocks noGrp="1"/>
          </p:cNvSpPr>
          <p:nvPr>
            <p:ph sz="quarter" idx="12"/>
          </p:nvPr>
        </p:nvSpPr>
        <p:spPr>
          <a:xfrm>
            <a:off x="550863" y="1196976"/>
            <a:ext cx="2663825"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E67F7B8-B11B-C456-A2B3-0BFA3BD4D88B}"/>
              </a:ext>
            </a:extLst>
          </p:cNvPr>
          <p:cNvSpPr>
            <a:spLocks noGrp="1"/>
          </p:cNvSpPr>
          <p:nvPr>
            <p:ph sz="quarter" idx="13"/>
          </p:nvPr>
        </p:nvSpPr>
        <p:spPr>
          <a:xfrm>
            <a:off x="3359696" y="1196976"/>
            <a:ext cx="2664867"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CFBFE457-DA14-B0B8-91EF-5C34AF08E5D3}"/>
              </a:ext>
            </a:extLst>
          </p:cNvPr>
          <p:cNvSpPr>
            <a:spLocks noGrp="1"/>
          </p:cNvSpPr>
          <p:nvPr>
            <p:ph sz="quarter" idx="14"/>
          </p:nvPr>
        </p:nvSpPr>
        <p:spPr>
          <a:xfrm>
            <a:off x="6168008" y="1196976"/>
            <a:ext cx="2664842"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01467242-BFD6-B17B-2A90-1AB3D4B7D2A6}"/>
              </a:ext>
            </a:extLst>
          </p:cNvPr>
          <p:cNvSpPr>
            <a:spLocks noGrp="1"/>
          </p:cNvSpPr>
          <p:nvPr>
            <p:ph type="ftr" sz="quarter" idx="15"/>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149F0FD6-8101-C6AE-F464-6167F149E2F8}"/>
              </a:ext>
            </a:extLst>
          </p:cNvPr>
          <p:cNvSpPr>
            <a:spLocks noGrp="1"/>
          </p:cNvSpPr>
          <p:nvPr>
            <p:ph type="sldNum" sz="quarter" idx="16"/>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70248D15-3C8B-A521-F3E7-5D538FDB9D9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Content Placeholder 9">
            <a:extLst>
              <a:ext uri="{FF2B5EF4-FFF2-40B4-BE49-F238E27FC236}">
                <a16:creationId xmlns:a16="http://schemas.microsoft.com/office/drawing/2014/main" id="{4C1626A8-2301-15E3-C165-04B5297B89A5}"/>
              </a:ext>
            </a:extLst>
          </p:cNvPr>
          <p:cNvSpPr>
            <a:spLocks noGrp="1"/>
          </p:cNvSpPr>
          <p:nvPr>
            <p:ph sz="quarter" idx="17"/>
          </p:nvPr>
        </p:nvSpPr>
        <p:spPr>
          <a:xfrm>
            <a:off x="8976320" y="1196976"/>
            <a:ext cx="2664842"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light Mode" hidden="1">
            <a:extLst>
              <a:ext uri="{FF2B5EF4-FFF2-40B4-BE49-F238E27FC236}">
                <a16:creationId xmlns:a16="http://schemas.microsoft.com/office/drawing/2014/main" id="{DC00283A-839B-735A-8CFE-956543F8498F}"/>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1" name="MIO_Placeholder_Mapping" hidden="1">
            <a:extLst>
              <a:ext uri="{FF2B5EF4-FFF2-40B4-BE49-F238E27FC236}">
                <a16:creationId xmlns:a16="http://schemas.microsoft.com/office/drawing/2014/main" id="{32332616-B481-7352-976A-CB40CC90FFEF}"/>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7816446"/>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picts 2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C68BE-3081-1A2B-BB49-35D49CD95E96}"/>
              </a:ext>
            </a:extLst>
          </p:cNvPr>
          <p:cNvSpPr>
            <a:spLocks noGrp="1"/>
          </p:cNvSpPr>
          <p:nvPr>
            <p:ph type="title"/>
          </p:nvPr>
        </p:nvSpPr>
        <p:spPr/>
        <p:txBody>
          <a:bodyPr/>
          <a:lstStyle/>
          <a:p>
            <a:r>
              <a:rPr lang="en-US"/>
              <a:t>Click to edit Master title style</a:t>
            </a:r>
          </a:p>
        </p:txBody>
      </p:sp>
      <p:sp>
        <p:nvSpPr>
          <p:cNvPr id="5" name="Content Placeholder 8">
            <a:extLst>
              <a:ext uri="{FF2B5EF4-FFF2-40B4-BE49-F238E27FC236}">
                <a16:creationId xmlns:a16="http://schemas.microsoft.com/office/drawing/2014/main" id="{2CD88B82-0A13-D547-DBE3-14AE0A23FB86}"/>
              </a:ext>
            </a:extLst>
          </p:cNvPr>
          <p:cNvSpPr>
            <a:spLocks noGrp="1"/>
          </p:cNvSpPr>
          <p:nvPr>
            <p:ph sz="quarter" idx="12" hasCustomPrompt="1"/>
          </p:nvPr>
        </p:nvSpPr>
        <p:spPr>
          <a:xfrm>
            <a:off x="551992" y="1197099"/>
            <a:ext cx="5472571" cy="2304132"/>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6" name="Content Placeholder 8">
            <a:extLst>
              <a:ext uri="{FF2B5EF4-FFF2-40B4-BE49-F238E27FC236}">
                <a16:creationId xmlns:a16="http://schemas.microsoft.com/office/drawing/2014/main" id="{32BEC77D-2BB4-F043-29AD-5383444EFDF4}"/>
              </a:ext>
            </a:extLst>
          </p:cNvPr>
          <p:cNvSpPr>
            <a:spLocks noGrp="1"/>
          </p:cNvSpPr>
          <p:nvPr>
            <p:ph sz="quarter" idx="13" hasCustomPrompt="1"/>
          </p:nvPr>
        </p:nvSpPr>
        <p:spPr>
          <a:xfrm>
            <a:off x="6168008" y="1196752"/>
            <a:ext cx="5470854" cy="2304132"/>
          </a:xfrm>
          <a:pattFill prst="wdUpDiag">
            <a:fgClr>
              <a:schemeClr val="bg1"/>
            </a:fgClr>
            <a:bgClr>
              <a:schemeClr val="bg2"/>
            </a:bgClr>
          </a:pattFill>
        </p:spPr>
        <p:txBody>
          <a:bodyPr bIns="900000" anchor="ctr">
            <a:normAutofit/>
          </a:bodyPr>
          <a:lstStyle>
            <a:lvl1pPr algn="ctr">
              <a:defRPr sz="1100"/>
            </a:lvl1pPr>
          </a:lstStyle>
          <a:p>
            <a:pPr lvl="0"/>
            <a:r>
              <a:rPr lang="en-US" dirty="0"/>
              <a:t>Insert graphic</a:t>
            </a:r>
          </a:p>
        </p:txBody>
      </p:sp>
      <p:sp>
        <p:nvSpPr>
          <p:cNvPr id="7" name="Content Placeholder 12">
            <a:extLst>
              <a:ext uri="{FF2B5EF4-FFF2-40B4-BE49-F238E27FC236}">
                <a16:creationId xmlns:a16="http://schemas.microsoft.com/office/drawing/2014/main" id="{456251D7-7010-E4DB-F881-6FCC5A1219A3}"/>
              </a:ext>
            </a:extLst>
          </p:cNvPr>
          <p:cNvSpPr>
            <a:spLocks noGrp="1"/>
          </p:cNvSpPr>
          <p:nvPr>
            <p:ph sz="quarter" idx="14"/>
          </p:nvPr>
        </p:nvSpPr>
        <p:spPr>
          <a:xfrm>
            <a:off x="551992" y="3645023"/>
            <a:ext cx="5472571" cy="2447802"/>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2">
            <a:extLst>
              <a:ext uri="{FF2B5EF4-FFF2-40B4-BE49-F238E27FC236}">
                <a16:creationId xmlns:a16="http://schemas.microsoft.com/office/drawing/2014/main" id="{1D31F5ED-F6F5-DCDE-82DD-6D532DBFEF0A}"/>
              </a:ext>
            </a:extLst>
          </p:cNvPr>
          <p:cNvSpPr>
            <a:spLocks noGrp="1"/>
          </p:cNvSpPr>
          <p:nvPr>
            <p:ph sz="quarter" idx="15"/>
          </p:nvPr>
        </p:nvSpPr>
        <p:spPr>
          <a:xfrm>
            <a:off x="6168008" y="3645023"/>
            <a:ext cx="5470854" cy="2447802"/>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31B85B14-7E47-9E3D-B3EF-04D4382DDEA2}"/>
              </a:ext>
            </a:extLst>
          </p:cNvPr>
          <p:cNvSpPr>
            <a:spLocks noGrp="1"/>
          </p:cNvSpPr>
          <p:nvPr>
            <p:ph type="ftr" sz="quarter" idx="16"/>
          </p:nvPr>
        </p:nvSpPr>
        <p:spPr/>
        <p:txBody>
          <a:bodyPr/>
          <a:lstStyle/>
          <a:p>
            <a:r>
              <a:rPr lang="en-US"/>
              <a:t>© SAG ARIS GmbH. All rights reserved.</a:t>
            </a:r>
          </a:p>
        </p:txBody>
      </p:sp>
      <p:sp>
        <p:nvSpPr>
          <p:cNvPr id="11" name="Slide Number Placeholder 10">
            <a:extLst>
              <a:ext uri="{FF2B5EF4-FFF2-40B4-BE49-F238E27FC236}">
                <a16:creationId xmlns:a16="http://schemas.microsoft.com/office/drawing/2014/main" id="{B891C790-A747-BAD8-B0F9-D833DB7A0E98}"/>
              </a:ext>
            </a:extLst>
          </p:cNvPr>
          <p:cNvSpPr>
            <a:spLocks noGrp="1"/>
          </p:cNvSpPr>
          <p:nvPr>
            <p:ph type="sldNum" sz="quarter" idx="17"/>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F4B770C0-2893-F9CA-5BC7-E6008101ED9F}"/>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4AA439D9-EAAA-AE4D-13DF-F3482CB86259}"/>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9" name="MIO_Placeholder_Mapping" hidden="1">
            <a:extLst>
              <a:ext uri="{FF2B5EF4-FFF2-40B4-BE49-F238E27FC236}">
                <a16:creationId xmlns:a16="http://schemas.microsoft.com/office/drawing/2014/main" id="{4B0EDD87-16B4-A457-CB66-22FDD6763179}"/>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7424068"/>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icts 3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397F1-0814-B267-1984-6756C0C76095}"/>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B1A0B438-08D8-A1E9-0E9D-4C575AC9F421}"/>
              </a:ext>
            </a:extLst>
          </p:cNvPr>
          <p:cNvSpPr>
            <a:spLocks noGrp="1"/>
          </p:cNvSpPr>
          <p:nvPr>
            <p:ph sz="quarter" idx="12" hasCustomPrompt="1"/>
          </p:nvPr>
        </p:nvSpPr>
        <p:spPr>
          <a:xfrm>
            <a:off x="551992" y="1197099"/>
            <a:ext cx="3599321" cy="2303784"/>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1" name="Content Placeholder 8">
            <a:extLst>
              <a:ext uri="{FF2B5EF4-FFF2-40B4-BE49-F238E27FC236}">
                <a16:creationId xmlns:a16="http://schemas.microsoft.com/office/drawing/2014/main" id="{43FD8630-1A63-02B3-646A-3AEE4FC3A86C}"/>
              </a:ext>
            </a:extLst>
          </p:cNvPr>
          <p:cNvSpPr>
            <a:spLocks noGrp="1"/>
          </p:cNvSpPr>
          <p:nvPr>
            <p:ph sz="quarter" idx="13" hasCustomPrompt="1"/>
          </p:nvPr>
        </p:nvSpPr>
        <p:spPr>
          <a:xfrm>
            <a:off x="4295800" y="1196752"/>
            <a:ext cx="3599321" cy="2303784"/>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3" name="Content Placeholder 12">
            <a:extLst>
              <a:ext uri="{FF2B5EF4-FFF2-40B4-BE49-F238E27FC236}">
                <a16:creationId xmlns:a16="http://schemas.microsoft.com/office/drawing/2014/main" id="{0456104A-6D81-C64D-817B-67E2A3A9BE0C}"/>
              </a:ext>
            </a:extLst>
          </p:cNvPr>
          <p:cNvSpPr>
            <a:spLocks noGrp="1"/>
          </p:cNvSpPr>
          <p:nvPr>
            <p:ph sz="quarter" idx="14"/>
          </p:nvPr>
        </p:nvSpPr>
        <p:spPr>
          <a:xfrm>
            <a:off x="551992"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F65C997E-2278-4E56-37A6-EB4C7EEC1C52}"/>
              </a:ext>
            </a:extLst>
          </p:cNvPr>
          <p:cNvSpPr>
            <a:spLocks noGrp="1"/>
          </p:cNvSpPr>
          <p:nvPr>
            <p:ph sz="quarter" idx="15"/>
          </p:nvPr>
        </p:nvSpPr>
        <p:spPr>
          <a:xfrm>
            <a:off x="4295800"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a:extLst>
              <a:ext uri="{FF2B5EF4-FFF2-40B4-BE49-F238E27FC236}">
                <a16:creationId xmlns:a16="http://schemas.microsoft.com/office/drawing/2014/main" id="{4A711886-7106-5E98-C36A-B33A10E6109E}"/>
              </a:ext>
            </a:extLst>
          </p:cNvPr>
          <p:cNvSpPr>
            <a:spLocks noGrp="1"/>
          </p:cNvSpPr>
          <p:nvPr>
            <p:ph sz="quarter" idx="16" hasCustomPrompt="1"/>
          </p:nvPr>
        </p:nvSpPr>
        <p:spPr>
          <a:xfrm>
            <a:off x="8040216" y="1196752"/>
            <a:ext cx="3599321" cy="2303784"/>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6" name="Content Placeholder 12">
            <a:extLst>
              <a:ext uri="{FF2B5EF4-FFF2-40B4-BE49-F238E27FC236}">
                <a16:creationId xmlns:a16="http://schemas.microsoft.com/office/drawing/2014/main" id="{B8F42862-A11A-2F19-16B9-AC6652A9EFCE}"/>
              </a:ext>
            </a:extLst>
          </p:cNvPr>
          <p:cNvSpPr>
            <a:spLocks noGrp="1"/>
          </p:cNvSpPr>
          <p:nvPr>
            <p:ph sz="quarter" idx="17"/>
          </p:nvPr>
        </p:nvSpPr>
        <p:spPr>
          <a:xfrm>
            <a:off x="8040216"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B8E4287-48AF-84EB-2E2C-96DD4E16BC4B}"/>
              </a:ext>
            </a:extLst>
          </p:cNvPr>
          <p:cNvSpPr>
            <a:spLocks noGrp="1"/>
          </p:cNvSpPr>
          <p:nvPr>
            <p:ph type="ftr" sz="quarter" idx="18"/>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89635549-7376-2661-8A6F-3AF90A68C016}"/>
              </a:ext>
            </a:extLst>
          </p:cNvPr>
          <p:cNvSpPr>
            <a:spLocks noGrp="1"/>
          </p:cNvSpPr>
          <p:nvPr>
            <p:ph type="sldNum" sz="quarter" idx="19"/>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5C1BB7BA-A92A-FFCE-9336-42CA7DDD533D}"/>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46A324C6-3044-23BF-D28C-C590201E7A87}"/>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5" name="MIO_Placeholder_Mapping" hidden="1">
            <a:extLst>
              <a:ext uri="{FF2B5EF4-FFF2-40B4-BE49-F238E27FC236}">
                <a16:creationId xmlns:a16="http://schemas.microsoft.com/office/drawing/2014/main" id="{16580670-2235-85BC-5C22-7C06608D03B5}"/>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5462312"/>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picts 4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397F1-0814-B267-1984-6756C0C76095}"/>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B1A0B438-08D8-A1E9-0E9D-4C575AC9F421}"/>
              </a:ext>
            </a:extLst>
          </p:cNvPr>
          <p:cNvSpPr>
            <a:spLocks noGrp="1"/>
          </p:cNvSpPr>
          <p:nvPr>
            <p:ph sz="quarter" idx="12" hasCustomPrompt="1"/>
          </p:nvPr>
        </p:nvSpPr>
        <p:spPr>
          <a:xfrm>
            <a:off x="551993" y="1196752"/>
            <a:ext cx="2662696" cy="2303585"/>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3" name="Content Placeholder 12">
            <a:extLst>
              <a:ext uri="{FF2B5EF4-FFF2-40B4-BE49-F238E27FC236}">
                <a16:creationId xmlns:a16="http://schemas.microsoft.com/office/drawing/2014/main" id="{0456104A-6D81-C64D-817B-67E2A3A9BE0C}"/>
              </a:ext>
            </a:extLst>
          </p:cNvPr>
          <p:cNvSpPr>
            <a:spLocks noGrp="1"/>
          </p:cNvSpPr>
          <p:nvPr>
            <p:ph sz="quarter" idx="14" hasCustomPrompt="1"/>
          </p:nvPr>
        </p:nvSpPr>
        <p:spPr>
          <a:xfrm>
            <a:off x="551993"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0EE81861-DC94-4446-2135-60944D8CBEE6}"/>
              </a:ext>
            </a:extLst>
          </p:cNvPr>
          <p:cNvSpPr>
            <a:spLocks noGrp="1"/>
          </p:cNvSpPr>
          <p:nvPr>
            <p:ph sz="quarter" idx="15" hasCustomPrompt="1"/>
          </p:nvPr>
        </p:nvSpPr>
        <p:spPr>
          <a:xfrm>
            <a:off x="3359696" y="1196752"/>
            <a:ext cx="2662696" cy="2303585"/>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7" name="Content Placeholder 12">
            <a:extLst>
              <a:ext uri="{FF2B5EF4-FFF2-40B4-BE49-F238E27FC236}">
                <a16:creationId xmlns:a16="http://schemas.microsoft.com/office/drawing/2014/main" id="{3725FA80-7CD4-C867-D690-2FE699FED765}"/>
              </a:ext>
            </a:extLst>
          </p:cNvPr>
          <p:cNvSpPr>
            <a:spLocks noGrp="1"/>
          </p:cNvSpPr>
          <p:nvPr>
            <p:ph sz="quarter" idx="16" hasCustomPrompt="1"/>
          </p:nvPr>
        </p:nvSpPr>
        <p:spPr>
          <a:xfrm>
            <a:off x="3359696"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5B91C2C9-8C4D-2CD0-97E7-6ADC5C0E0B2A}"/>
              </a:ext>
            </a:extLst>
          </p:cNvPr>
          <p:cNvSpPr>
            <a:spLocks noGrp="1"/>
          </p:cNvSpPr>
          <p:nvPr>
            <p:ph sz="quarter" idx="17" hasCustomPrompt="1"/>
          </p:nvPr>
        </p:nvSpPr>
        <p:spPr>
          <a:xfrm>
            <a:off x="6168008" y="1196752"/>
            <a:ext cx="2662696" cy="2303585"/>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0" name="Content Placeholder 12">
            <a:extLst>
              <a:ext uri="{FF2B5EF4-FFF2-40B4-BE49-F238E27FC236}">
                <a16:creationId xmlns:a16="http://schemas.microsoft.com/office/drawing/2014/main" id="{C080695C-2AD3-8D41-C7CB-09FC2299ACDA}"/>
              </a:ext>
            </a:extLst>
          </p:cNvPr>
          <p:cNvSpPr>
            <a:spLocks noGrp="1"/>
          </p:cNvSpPr>
          <p:nvPr>
            <p:ph sz="quarter" idx="18" hasCustomPrompt="1"/>
          </p:nvPr>
        </p:nvSpPr>
        <p:spPr>
          <a:xfrm>
            <a:off x="6168008"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8D34A93E-2FC6-BF8D-2772-A48A947530BC}"/>
              </a:ext>
            </a:extLst>
          </p:cNvPr>
          <p:cNvSpPr>
            <a:spLocks noGrp="1"/>
          </p:cNvSpPr>
          <p:nvPr>
            <p:ph sz="quarter" idx="19" hasCustomPrompt="1"/>
          </p:nvPr>
        </p:nvSpPr>
        <p:spPr>
          <a:xfrm>
            <a:off x="8976320" y="1196752"/>
            <a:ext cx="2662696" cy="2303585"/>
          </a:xfrm>
          <a:pattFill prst="wdUpDiag">
            <a:fgClr>
              <a:schemeClr val="bg1"/>
            </a:fgClr>
            <a:bgClr>
              <a:schemeClr val="bg2"/>
            </a:bgClr>
          </a:pattFill>
        </p:spPr>
        <p:txBody>
          <a:bodyPr bIns="900000" anchor="ctr">
            <a:normAutofit/>
          </a:bodyPr>
          <a:lstStyle>
            <a:lvl1pPr algn="ctr">
              <a:defRPr sz="1100"/>
            </a:lvl1pPr>
          </a:lstStyle>
          <a:p>
            <a:pPr lvl="0"/>
            <a:r>
              <a:rPr lang="en-US"/>
              <a:t>Insert graphic</a:t>
            </a:r>
          </a:p>
        </p:txBody>
      </p:sp>
      <p:sp>
        <p:nvSpPr>
          <p:cNvPr id="17" name="Content Placeholder 12">
            <a:extLst>
              <a:ext uri="{FF2B5EF4-FFF2-40B4-BE49-F238E27FC236}">
                <a16:creationId xmlns:a16="http://schemas.microsoft.com/office/drawing/2014/main" id="{66302D6E-7936-7865-9424-8BE5687EBC81}"/>
              </a:ext>
            </a:extLst>
          </p:cNvPr>
          <p:cNvSpPr>
            <a:spLocks noGrp="1"/>
          </p:cNvSpPr>
          <p:nvPr>
            <p:ph sz="quarter" idx="20" hasCustomPrompt="1"/>
          </p:nvPr>
        </p:nvSpPr>
        <p:spPr>
          <a:xfrm>
            <a:off x="8976320"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4B03755E-3A3C-64F6-687A-F62026EE4C35}"/>
              </a:ext>
            </a:extLst>
          </p:cNvPr>
          <p:cNvSpPr>
            <a:spLocks noGrp="1"/>
          </p:cNvSpPr>
          <p:nvPr>
            <p:ph type="ftr" sz="quarter" idx="21"/>
          </p:nvPr>
        </p:nvSpPr>
        <p:spPr/>
        <p:txBody>
          <a:bodyPr/>
          <a:lstStyle/>
          <a:p>
            <a:r>
              <a:rPr lang="en-US"/>
              <a:t>© SAG ARIS GmbH. All rights reserved.</a:t>
            </a:r>
          </a:p>
        </p:txBody>
      </p:sp>
      <p:sp>
        <p:nvSpPr>
          <p:cNvPr id="14" name="Slide Number Placeholder 13">
            <a:extLst>
              <a:ext uri="{FF2B5EF4-FFF2-40B4-BE49-F238E27FC236}">
                <a16:creationId xmlns:a16="http://schemas.microsoft.com/office/drawing/2014/main" id="{532448CE-4E7E-099D-13F7-EE230EF707AA}"/>
              </a:ext>
            </a:extLst>
          </p:cNvPr>
          <p:cNvSpPr>
            <a:spLocks noGrp="1"/>
          </p:cNvSpPr>
          <p:nvPr>
            <p:ph type="sldNum" sz="quarter" idx="22"/>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0CF91D12-E9E2-1A2B-146B-C2259E916835}"/>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CC2A6BB1-3354-CE35-F363-9E4A848807F5}"/>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5" name="MIO_Placeholder_Mapping" hidden="1">
            <a:extLst>
              <a:ext uri="{FF2B5EF4-FFF2-40B4-BE49-F238E27FC236}">
                <a16:creationId xmlns:a16="http://schemas.microsoft.com/office/drawing/2014/main" id="{F2E9CCB8-3561-168F-BD67-810A7D24E306}"/>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080966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Pict - Whit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9AE778D-3B5C-8620-F8C7-D46E0AA648F3}"/>
              </a:ext>
            </a:extLst>
          </p:cNvPr>
          <p:cNvSpPr>
            <a:spLocks noGrp="1"/>
          </p:cNvSpPr>
          <p:nvPr>
            <p:ph type="ftr" sz="quarter" idx="10"/>
          </p:nvPr>
        </p:nvSpPr>
        <p:spPr/>
        <p:txBody>
          <a:bodyPr/>
          <a:lstStyle/>
          <a:p>
            <a:r>
              <a:rPr lang="en-US"/>
              <a:t>© SAG ARIS GmbH. All rights reserved.</a:t>
            </a:r>
          </a:p>
        </p:txBody>
      </p:sp>
      <p:sp>
        <p:nvSpPr>
          <p:cNvPr id="4" name="Slide Number Placeholder 3">
            <a:extLst>
              <a:ext uri="{FF2B5EF4-FFF2-40B4-BE49-F238E27FC236}">
                <a16:creationId xmlns:a16="http://schemas.microsoft.com/office/drawing/2014/main" id="{8DDDB82C-F1A0-F913-0FFB-410A21D8180D}"/>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5" name="Picture Placeholder 31">
            <a:extLst>
              <a:ext uri="{FF2B5EF4-FFF2-40B4-BE49-F238E27FC236}">
                <a16:creationId xmlns:a16="http://schemas.microsoft.com/office/drawing/2014/main" id="{B00DC9E4-F4B7-7824-8039-7156CB222C33}"/>
              </a:ext>
            </a:extLst>
          </p:cNvPr>
          <p:cNvSpPr>
            <a:spLocks noGrp="1"/>
          </p:cNvSpPr>
          <p:nvPr>
            <p:ph type="pic" sz="quarter" idx="31"/>
          </p:nvPr>
        </p:nvSpPr>
        <p:spPr>
          <a:xfrm>
            <a:off x="-2" y="0"/>
            <a:ext cx="12192001" cy="5948826"/>
          </a:xfrm>
          <a:pattFill prst="wdUpDiag">
            <a:fgClr>
              <a:schemeClr val="bg1"/>
            </a:fgClr>
            <a:bgClr>
              <a:schemeClr val="bg2"/>
            </a:bgClr>
          </a:pattFill>
        </p:spPr>
        <p:txBody>
          <a:bodyPr bIns="583200" anchor="ctr" anchorCtr="1"/>
          <a:lstStyle>
            <a:lvl1pPr>
              <a:defRPr baseline="0">
                <a:latin typeface="+mn-lt"/>
                <a:cs typeface="+mn-cs"/>
              </a:defRPr>
            </a:lvl1pPr>
          </a:lstStyle>
          <a:p>
            <a:r>
              <a:rPr lang="en-US"/>
              <a:t>Click icon to add picture</a:t>
            </a:r>
            <a:endParaRPr lang="en-US" dirty="0"/>
          </a:p>
        </p:txBody>
      </p:sp>
      <p:sp>
        <p:nvSpPr>
          <p:cNvPr id="2" name="Flight Mode" hidden="1">
            <a:extLst>
              <a:ext uri="{FF2B5EF4-FFF2-40B4-BE49-F238E27FC236}">
                <a16:creationId xmlns:a16="http://schemas.microsoft.com/office/drawing/2014/main" id="{1FFB842E-A907-E9CB-AD18-EDD4B326A717}"/>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6" name="MIO_Placeholder_Mapping" hidden="1">
            <a:extLst>
              <a:ext uri="{FF2B5EF4-FFF2-40B4-BE49-F238E27FC236}">
                <a16:creationId xmlns:a16="http://schemas.microsoft.com/office/drawing/2014/main" id="{251D2181-0D11-593F-D5C9-1B37C68DEFE8}"/>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05715512"/>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0B96E-5982-9F5C-E74C-271F54C46AE6}"/>
              </a:ext>
            </a:extLst>
          </p:cNvPr>
          <p:cNvSpPr>
            <a:spLocks noGrp="1"/>
          </p:cNvSpPr>
          <p:nvPr>
            <p:ph type="title"/>
          </p:nvPr>
        </p:nvSpPr>
        <p:spPr>
          <a:xfrm>
            <a:off x="1343025" y="1196932"/>
            <a:ext cx="7489825" cy="3312188"/>
          </a:xfrm>
        </p:spPr>
        <p:txBody>
          <a:bodyPr/>
          <a:lstStyle>
            <a:lvl1pPr>
              <a:defRPr sz="4800"/>
            </a:lvl1pPr>
          </a:lstStyle>
          <a:p>
            <a:r>
              <a:rPr lang="en-US"/>
              <a:t>Click to edit Master title style</a:t>
            </a:r>
          </a:p>
        </p:txBody>
      </p:sp>
      <p:cxnSp>
        <p:nvCxnSpPr>
          <p:cNvPr id="5" name="Straight Connector 4">
            <a:extLst>
              <a:ext uri="{FF2B5EF4-FFF2-40B4-BE49-F238E27FC236}">
                <a16:creationId xmlns:a16="http://schemas.microsoft.com/office/drawing/2014/main" id="{908E2171-2EDD-0165-660C-7BF2F3C41121}"/>
              </a:ext>
            </a:extLst>
          </p:cNvPr>
          <p:cNvCxnSpPr>
            <a:cxnSpLocks/>
          </p:cNvCxnSpPr>
          <p:nvPr userDrawn="1"/>
        </p:nvCxnSpPr>
        <p:spPr>
          <a:xfrm flipV="1">
            <a:off x="0" y="1484784"/>
            <a:ext cx="1138238" cy="50"/>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14C2CBD0-08D4-166D-02F7-B87863F2A61B}"/>
              </a:ext>
            </a:extLst>
          </p:cNvPr>
          <p:cNvSpPr>
            <a:spLocks noGrp="1"/>
          </p:cNvSpPr>
          <p:nvPr>
            <p:ph type="ftr" sz="quarter" idx="10"/>
          </p:nvPr>
        </p:nvSpPr>
        <p:spPr/>
        <p:txBody>
          <a:bodyPr/>
          <a:lstStyle/>
          <a:p>
            <a:r>
              <a:rPr lang="en-US"/>
              <a:t>© SAG ARIS GmbH. All rights reserved.</a:t>
            </a:r>
          </a:p>
        </p:txBody>
      </p:sp>
      <p:sp>
        <p:nvSpPr>
          <p:cNvPr id="8" name="Slide Number Placeholder 7">
            <a:extLst>
              <a:ext uri="{FF2B5EF4-FFF2-40B4-BE49-F238E27FC236}">
                <a16:creationId xmlns:a16="http://schemas.microsoft.com/office/drawing/2014/main" id="{F888CE66-6E43-032E-CA2B-4368D2436EB7}"/>
              </a:ext>
            </a:extLst>
          </p:cNvPr>
          <p:cNvSpPr>
            <a:spLocks noGrp="1"/>
          </p:cNvSpPr>
          <p:nvPr>
            <p:ph type="sldNum" sz="quarter" idx="11"/>
          </p:nvPr>
        </p:nvSpPr>
        <p:spPr/>
        <p:txBody>
          <a:bodyPr/>
          <a:lstStyle/>
          <a:p>
            <a:fld id="{59C7FD53-A61A-46D7-B725-1FF4E056D6EF}" type="slidenum">
              <a:rPr lang="en-US"/>
              <a:pPr/>
              <a:t>‹#›</a:t>
            </a:fld>
            <a:endParaRPr lang="en-US"/>
          </a:p>
        </p:txBody>
      </p:sp>
      <p:grpSp>
        <p:nvGrpSpPr>
          <p:cNvPr id="9" name="Graphic 3">
            <a:extLst>
              <a:ext uri="{FF2B5EF4-FFF2-40B4-BE49-F238E27FC236}">
                <a16:creationId xmlns:a16="http://schemas.microsoft.com/office/drawing/2014/main" id="{E25F4C0A-F735-E0AC-D4FD-3181063AA51D}"/>
              </a:ext>
            </a:extLst>
          </p:cNvPr>
          <p:cNvGrpSpPr/>
          <p:nvPr/>
        </p:nvGrpSpPr>
        <p:grpSpPr>
          <a:xfrm>
            <a:off x="10633946" y="6180322"/>
            <a:ext cx="1005290" cy="414704"/>
            <a:chOff x="10633946" y="6180322"/>
            <a:chExt cx="1005290" cy="414704"/>
          </a:xfrm>
        </p:grpSpPr>
        <p:sp>
          <p:nvSpPr>
            <p:cNvPr id="10" name="Freeform: Shape 9">
              <a:extLst>
                <a:ext uri="{FF2B5EF4-FFF2-40B4-BE49-F238E27FC236}">
                  <a16:creationId xmlns:a16="http://schemas.microsoft.com/office/drawing/2014/main" id="{25913AFA-0FC4-A99D-5618-428CD283470B}"/>
                </a:ext>
              </a:extLst>
            </p:cNvPr>
            <p:cNvSpPr/>
            <p:nvPr/>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2BEDB2F-FD5C-1C31-F785-E28375562E9E}"/>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rgbClr val="002F2C"/>
            </a:solidFill>
            <a:ln w="1334" cap="flat">
              <a:noFill/>
              <a:prstDash val="solid"/>
              <a:miter/>
            </a:ln>
          </p:spPr>
          <p:txBody>
            <a:bodyPr rtlCol="0" anchor="ctr"/>
            <a:lstStyle/>
            <a:p>
              <a:endParaRPr lang="en-US"/>
            </a:p>
          </p:txBody>
        </p:sp>
      </p:grpSp>
      <p:sp>
        <p:nvSpPr>
          <p:cNvPr id="14" name="Freeform: Shape 13">
            <a:extLst>
              <a:ext uri="{FF2B5EF4-FFF2-40B4-BE49-F238E27FC236}">
                <a16:creationId xmlns:a16="http://schemas.microsoft.com/office/drawing/2014/main" id="{5D71C9B8-8BC2-C89A-8A90-15C54849E3D4}"/>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3" name="Flight Mode" hidden="1">
            <a:extLst>
              <a:ext uri="{FF2B5EF4-FFF2-40B4-BE49-F238E27FC236}">
                <a16:creationId xmlns:a16="http://schemas.microsoft.com/office/drawing/2014/main" id="{0C487FF2-938F-1C38-D380-0CD48CBBC30C}"/>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2816168743"/>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Ivor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0B96E-5982-9F5C-E74C-271F54C46AE6}"/>
              </a:ext>
            </a:extLst>
          </p:cNvPr>
          <p:cNvSpPr>
            <a:spLocks noGrp="1"/>
          </p:cNvSpPr>
          <p:nvPr>
            <p:ph type="title"/>
          </p:nvPr>
        </p:nvSpPr>
        <p:spPr>
          <a:xfrm>
            <a:off x="1343025" y="1196932"/>
            <a:ext cx="7489825" cy="3312188"/>
          </a:xfrm>
        </p:spPr>
        <p:txBody>
          <a:bodyPr/>
          <a:lstStyle>
            <a:lvl1pPr>
              <a:defRPr sz="4800"/>
            </a:lvl1pPr>
          </a:lstStyle>
          <a:p>
            <a:r>
              <a:rPr lang="en-US"/>
              <a:t>Click to edit Master title style</a:t>
            </a:r>
          </a:p>
        </p:txBody>
      </p:sp>
      <p:cxnSp>
        <p:nvCxnSpPr>
          <p:cNvPr id="5" name="Straight Connector 4">
            <a:extLst>
              <a:ext uri="{FF2B5EF4-FFF2-40B4-BE49-F238E27FC236}">
                <a16:creationId xmlns:a16="http://schemas.microsoft.com/office/drawing/2014/main" id="{908E2171-2EDD-0165-660C-7BF2F3C41121}"/>
              </a:ext>
            </a:extLst>
          </p:cNvPr>
          <p:cNvCxnSpPr>
            <a:cxnSpLocks/>
          </p:cNvCxnSpPr>
          <p:nvPr userDrawn="1"/>
        </p:nvCxnSpPr>
        <p:spPr>
          <a:xfrm flipV="1">
            <a:off x="0" y="1484784"/>
            <a:ext cx="1138238" cy="50"/>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14C2CBD0-08D4-166D-02F7-B87863F2A61B}"/>
              </a:ext>
            </a:extLst>
          </p:cNvPr>
          <p:cNvSpPr>
            <a:spLocks noGrp="1"/>
          </p:cNvSpPr>
          <p:nvPr>
            <p:ph type="ftr" sz="quarter" idx="10"/>
          </p:nvPr>
        </p:nvSpPr>
        <p:spPr/>
        <p:txBody>
          <a:bodyPr/>
          <a:lstStyle/>
          <a:p>
            <a:r>
              <a:rPr lang="en-US"/>
              <a:t>© SAG ARIS GmbH. All rights reserved.</a:t>
            </a:r>
          </a:p>
        </p:txBody>
      </p:sp>
      <p:sp>
        <p:nvSpPr>
          <p:cNvPr id="8" name="Slide Number Placeholder 7">
            <a:extLst>
              <a:ext uri="{FF2B5EF4-FFF2-40B4-BE49-F238E27FC236}">
                <a16:creationId xmlns:a16="http://schemas.microsoft.com/office/drawing/2014/main" id="{F888CE66-6E43-032E-CA2B-4368D2436EB7}"/>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3" name="Rectangle 2">
            <a:extLst>
              <a:ext uri="{FF2B5EF4-FFF2-40B4-BE49-F238E27FC236}">
                <a16:creationId xmlns:a16="http://schemas.microsoft.com/office/drawing/2014/main" id="{4D51585C-B4D6-25BC-FF03-81E224BA30E4}"/>
              </a:ext>
            </a:extLst>
          </p:cNvPr>
          <p:cNvSpPr/>
          <p:nvPr userDrawn="1"/>
        </p:nvSpPr>
        <p:spPr>
          <a:xfrm>
            <a:off x="10488488" y="5877272"/>
            <a:ext cx="1368152" cy="79208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3E101992-AEB1-4877-5956-460591D96DE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32616" y="6178024"/>
            <a:ext cx="1008000" cy="419328"/>
          </a:xfrm>
          <a:prstGeom prst="rect">
            <a:avLst/>
          </a:prstGeom>
        </p:spPr>
      </p:pic>
      <p:sp>
        <p:nvSpPr>
          <p:cNvPr id="6" name="Flight Mode" hidden="1">
            <a:extLst>
              <a:ext uri="{FF2B5EF4-FFF2-40B4-BE49-F238E27FC236}">
                <a16:creationId xmlns:a16="http://schemas.microsoft.com/office/drawing/2014/main" id="{1D4B0A45-4F3D-F554-D1E6-A4FA8F3671BB}"/>
              </a:ext>
            </a:extLst>
          </p:cNvPr>
          <p:cNvSpPr/>
          <p:nvPr userDrawn="1">
            <p:custDataLst>
              <p:tags r:id="rId1"/>
            </p:custDataLst>
          </p:nvPr>
        </p:nvSpPr>
        <p:spPr>
          <a:xfrm>
            <a:off x="10488000" y="6150600"/>
            <a:ext cx="1182598" cy="514375"/>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9" name="MIO_Placeholder_Mapping" hidden="1">
            <a:extLst>
              <a:ext uri="{FF2B5EF4-FFF2-40B4-BE49-F238E27FC236}">
                <a16:creationId xmlns:a16="http://schemas.microsoft.com/office/drawing/2014/main" id="{61291A04-330D-1FEE-A67F-6F84F2451098}"/>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612397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096B376-5836-A3D3-A2E7-6FE629218A6B}"/>
              </a:ext>
            </a:extLst>
          </p:cNvPr>
          <p:cNvSpPr>
            <a:spLocks noGrp="1"/>
          </p:cNvSpPr>
          <p:nvPr>
            <p:ph sz="quarter" idx="12"/>
          </p:nvPr>
        </p:nvSpPr>
        <p:spPr>
          <a:xfrm>
            <a:off x="551384" y="1341439"/>
            <a:ext cx="11088000" cy="4751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FF35350-60DD-AC33-629A-2CE6BDBDFD7A}"/>
              </a:ext>
            </a:extLst>
          </p:cNvPr>
          <p:cNvSpPr>
            <a:spLocks noGrp="1"/>
          </p:cNvSpPr>
          <p:nvPr>
            <p:ph type="ftr" sz="quarter" idx="13"/>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4344B0F6-02AA-8299-B8EA-BBCF9523A618}"/>
              </a:ext>
            </a:extLst>
          </p:cNvPr>
          <p:cNvSpPr>
            <a:spLocks noGrp="1"/>
          </p:cNvSpPr>
          <p:nvPr>
            <p:ph type="sldNum" sz="quarter" idx="14"/>
          </p:nvPr>
        </p:nvSpPr>
        <p:spPr/>
        <p:txBody>
          <a:bodyPr/>
          <a:lstStyle/>
          <a:p>
            <a:fld id="{59C7FD53-A61A-46D7-B725-1FF4E056D6EF}" type="slidenum">
              <a:rPr lang="en-US"/>
              <a:pPr/>
              <a:t>‹#›</a:t>
            </a:fld>
            <a:endParaRPr lang="en-US"/>
          </a:p>
        </p:txBody>
      </p:sp>
      <p:sp>
        <p:nvSpPr>
          <p:cNvPr id="3" name="Freeform: Shape 2">
            <a:extLst>
              <a:ext uri="{FF2B5EF4-FFF2-40B4-BE49-F238E27FC236}">
                <a16:creationId xmlns:a16="http://schemas.microsoft.com/office/drawing/2014/main" id="{E63EF783-015D-EDAF-42AB-08F6D898CF7D}"/>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4" name="Subtitle 1">
            <a:extLst>
              <a:ext uri="{FF2B5EF4-FFF2-40B4-BE49-F238E27FC236}">
                <a16:creationId xmlns:a16="http://schemas.microsoft.com/office/drawing/2014/main" id="{341DDF35-5230-1B5E-0CAE-78616E2D11BE}"/>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8" name="Flight Mode" hidden="1">
            <a:extLst>
              <a:ext uri="{FF2B5EF4-FFF2-40B4-BE49-F238E27FC236}">
                <a16:creationId xmlns:a16="http://schemas.microsoft.com/office/drawing/2014/main" id="{71953EEC-F782-52B6-CCED-6386E28B1F0F}"/>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9" name="MIO_Placeholder_Mapping" hidden="1">
            <a:extLst>
              <a:ext uri="{FF2B5EF4-FFF2-40B4-BE49-F238E27FC236}">
                <a16:creationId xmlns:a16="http://schemas.microsoft.com/office/drawing/2014/main" id="{F7EEC47C-6001-D0B0-6073-8DB5E3745D3D}"/>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716949"/>
      </p:ext>
    </p:extLst>
  </p:cSld>
  <p:clrMapOvr>
    <a:overrideClrMapping bg1="dk1" tx1="lt1" bg2="dk2" tx2="lt2" accent1="accent1" accent2="accent2" accent3="accent3" accent4="accent4" accent5="accent5" accent6="accent6" hlink="hlink" folHlink="folHlink"/>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D50C0132-353C-67AC-1163-54DFD33932C6}"/>
              </a:ext>
            </a:extLst>
          </p:cNvPr>
          <p:cNvSpPr>
            <a:spLocks noGrp="1"/>
          </p:cNvSpPr>
          <p:nvPr>
            <p:ph type="ftr" sz="quarter" idx="10"/>
          </p:nvPr>
        </p:nvSpPr>
        <p:spPr/>
        <p:txBody>
          <a:bodyPr/>
          <a:lstStyle/>
          <a:p>
            <a:r>
              <a:rPr lang="en-US"/>
              <a:t>© SAG ARIS GmbH. All rights reserved.</a:t>
            </a:r>
          </a:p>
        </p:txBody>
      </p:sp>
      <p:sp>
        <p:nvSpPr>
          <p:cNvPr id="6" name="Slide Number Placeholder 5">
            <a:extLst>
              <a:ext uri="{FF2B5EF4-FFF2-40B4-BE49-F238E27FC236}">
                <a16:creationId xmlns:a16="http://schemas.microsoft.com/office/drawing/2014/main" id="{80DFE377-3F3D-734B-F822-52A0E9B96C87}"/>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3" name="Freeform: Shape 2">
            <a:extLst>
              <a:ext uri="{FF2B5EF4-FFF2-40B4-BE49-F238E27FC236}">
                <a16:creationId xmlns:a16="http://schemas.microsoft.com/office/drawing/2014/main" id="{7C8D8D61-D8C6-58BB-5C3E-A7A38C3EBABF}"/>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4" name="Subtitle 1">
            <a:extLst>
              <a:ext uri="{FF2B5EF4-FFF2-40B4-BE49-F238E27FC236}">
                <a16:creationId xmlns:a16="http://schemas.microsoft.com/office/drawing/2014/main" id="{E282BB27-B3D0-5577-9AB7-E981C253C6CE}"/>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7" name="Flight Mode" hidden="1">
            <a:extLst>
              <a:ext uri="{FF2B5EF4-FFF2-40B4-BE49-F238E27FC236}">
                <a16:creationId xmlns:a16="http://schemas.microsoft.com/office/drawing/2014/main" id="{B2424ED9-D527-8486-AC6F-8B6CCAE67AB3}"/>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8" name="MIO_Placeholder_Mapping" hidden="1">
            <a:extLst>
              <a:ext uri="{FF2B5EF4-FFF2-40B4-BE49-F238E27FC236}">
                <a16:creationId xmlns:a16="http://schemas.microsoft.com/office/drawing/2014/main" id="{17402A7E-50F9-0FE5-EF17-F1D8C7B68BC8}"/>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3667293"/>
      </p:ext>
    </p:extLst>
  </p:cSld>
  <p:clrMapOvr>
    <a:overrideClrMapping bg1="dk1" tx1="lt1" bg2="dk2" tx2="lt2" accent1="accent1" accent2="accent2" accent3="accent3" accent4="accent4" accent5="accent5" accent6="accent6" hlink="hlink" folHlink="folHlink"/>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 Green">
    <p:bg>
      <p:bgRef idx="1001">
        <a:schemeClr val="bg2"/>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43A95B2-CF8F-AEE9-D6BA-80B505C9B522}"/>
              </a:ext>
            </a:extLst>
          </p:cNvPr>
          <p:cNvSpPr>
            <a:spLocks noGrp="1"/>
          </p:cNvSpPr>
          <p:nvPr>
            <p:ph type="ftr" sz="quarter" idx="10"/>
          </p:nvPr>
        </p:nvSpPr>
        <p:spPr/>
        <p:txBody>
          <a:bodyPr/>
          <a:lstStyle/>
          <a:p>
            <a:r>
              <a:rPr lang="en-US"/>
              <a:t>© SAG ARIS GmbH. All rights reserved.</a:t>
            </a:r>
          </a:p>
        </p:txBody>
      </p:sp>
      <p:sp>
        <p:nvSpPr>
          <p:cNvPr id="5" name="Slide Number Placeholder 4">
            <a:extLst>
              <a:ext uri="{FF2B5EF4-FFF2-40B4-BE49-F238E27FC236}">
                <a16:creationId xmlns:a16="http://schemas.microsoft.com/office/drawing/2014/main" id="{02877366-E0DC-B054-D62F-CE513307E07E}"/>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3" name="Freeform: Shape 2">
            <a:extLst>
              <a:ext uri="{FF2B5EF4-FFF2-40B4-BE49-F238E27FC236}">
                <a16:creationId xmlns:a16="http://schemas.microsoft.com/office/drawing/2014/main" id="{749F8623-BFF0-0D2D-C084-79DDB0089C63}"/>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4" name="Flight Mode" hidden="1">
            <a:extLst>
              <a:ext uri="{FF2B5EF4-FFF2-40B4-BE49-F238E27FC236}">
                <a16:creationId xmlns:a16="http://schemas.microsoft.com/office/drawing/2014/main" id="{1053F282-1931-C681-2CF0-36061747C3E2}"/>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6" name="MIO_Placeholder_Mapping" hidden="1">
            <a:extLst>
              <a:ext uri="{FF2B5EF4-FFF2-40B4-BE49-F238E27FC236}">
                <a16:creationId xmlns:a16="http://schemas.microsoft.com/office/drawing/2014/main" id="{4967B8ED-78C0-589C-FFD3-CA577DF274DA}"/>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4994319"/>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3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E9F2A-7318-AC26-3DE6-62E08DA71BD4}"/>
              </a:ext>
            </a:extLst>
          </p:cNvPr>
          <p:cNvSpPr>
            <a:spLocks noGrp="1"/>
          </p:cNvSpPr>
          <p:nvPr>
            <p:ph type="ctrTitle"/>
          </p:nvPr>
        </p:nvSpPr>
        <p:spPr>
          <a:xfrm>
            <a:off x="550864" y="549399"/>
            <a:ext cx="5473699" cy="2879601"/>
          </a:xfrm>
          <a:prstGeom prst="rect">
            <a:avLst/>
          </a:prstGeom>
        </p:spPr>
        <p:txBody>
          <a:bodyPr anchor="b"/>
          <a:lstStyle>
            <a:lvl1pPr algn="l">
              <a:defRPr sz="48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E032040C-23D8-AE60-4487-2FD98B923ED9}"/>
              </a:ext>
            </a:extLst>
          </p:cNvPr>
          <p:cNvSpPr>
            <a:spLocks noGrp="1"/>
          </p:cNvSpPr>
          <p:nvPr>
            <p:ph type="subTitle" idx="1"/>
          </p:nvPr>
        </p:nvSpPr>
        <p:spPr>
          <a:xfrm>
            <a:off x="550865" y="3645024"/>
            <a:ext cx="4680000" cy="792485"/>
          </a:xfrm>
          <a:prstGeom prst="rect">
            <a:avLst/>
          </a:prstGeom>
        </p:spPr>
        <p:txBody>
          <a:bodyPr>
            <a:normAutofit/>
          </a:bodyPr>
          <a:lstStyle>
            <a:lvl1pPr marL="0" indent="0" algn="l">
              <a:buNone/>
              <a:defRPr sz="1600" b="0">
                <a:latin typeface="Crimson Pro (Body)"/>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20000"/>
              </a:lnSpc>
              <a:spcBef>
                <a:spcPts val="0"/>
              </a:spcBef>
              <a:spcAft>
                <a:spcPts val="765"/>
              </a:spcAft>
              <a:buClrTx/>
              <a:buSzTx/>
              <a:buFont typeface="Arial" panose="020B0604020202020204" pitchFamily="34" charset="0"/>
              <a:buNone/>
              <a:tabLst/>
              <a:defRPr/>
            </a:pPr>
            <a:r>
              <a:rPr lang="en-US"/>
              <a:t>Click to edit Master subtitle style</a:t>
            </a:r>
            <a:endParaRPr lang="en-US" dirty="0"/>
          </a:p>
        </p:txBody>
      </p:sp>
      <p:sp>
        <p:nvSpPr>
          <p:cNvPr id="10" name="Text Placeholder 9">
            <a:extLst>
              <a:ext uri="{FF2B5EF4-FFF2-40B4-BE49-F238E27FC236}">
                <a16:creationId xmlns:a16="http://schemas.microsoft.com/office/drawing/2014/main" id="{7333D6F9-FB02-AAAF-C762-BF390817EAE0}"/>
              </a:ext>
            </a:extLst>
          </p:cNvPr>
          <p:cNvSpPr>
            <a:spLocks noGrp="1"/>
          </p:cNvSpPr>
          <p:nvPr>
            <p:ph type="body" sz="quarter" idx="10"/>
          </p:nvPr>
        </p:nvSpPr>
        <p:spPr>
          <a:xfrm>
            <a:off x="550863" y="4581128"/>
            <a:ext cx="5473700" cy="143272"/>
          </a:xfrm>
        </p:spPr>
        <p:txBody>
          <a:bodyPr>
            <a:noAutofit/>
          </a:bodyPr>
          <a:lstStyle>
            <a:lvl1pPr algn="l">
              <a:lnSpc>
                <a:spcPct val="100000"/>
              </a:lnSpc>
              <a:defRPr sz="1000">
                <a:latin typeface="Crimson Pro (Body)"/>
              </a:defRPr>
            </a:lvl1pPr>
            <a:lvl2pPr marL="7937" indent="0">
              <a:buNone/>
              <a:defRPr/>
            </a:lvl2pPr>
          </a:lstStyle>
          <a:p>
            <a:pPr lvl="0"/>
            <a:r>
              <a:rPr lang="en-US"/>
              <a:t>Click to edit Master text styles</a:t>
            </a:r>
          </a:p>
        </p:txBody>
      </p:sp>
      <p:grpSp>
        <p:nvGrpSpPr>
          <p:cNvPr id="15" name="Group 14">
            <a:extLst>
              <a:ext uri="{FF2B5EF4-FFF2-40B4-BE49-F238E27FC236}">
                <a16:creationId xmlns:a16="http://schemas.microsoft.com/office/drawing/2014/main" id="{115C0BB8-BBA5-DDFA-26EF-760DBF226462}"/>
              </a:ext>
            </a:extLst>
          </p:cNvPr>
          <p:cNvGrpSpPr>
            <a:grpSpLocks noChangeAspect="1"/>
          </p:cNvGrpSpPr>
          <p:nvPr userDrawn="1"/>
        </p:nvGrpSpPr>
        <p:grpSpPr>
          <a:xfrm>
            <a:off x="550863" y="5877272"/>
            <a:ext cx="1396289" cy="576000"/>
            <a:chOff x="10633946" y="6180322"/>
            <a:chExt cx="1005290" cy="414704"/>
          </a:xfrm>
        </p:grpSpPr>
        <p:grpSp>
          <p:nvGrpSpPr>
            <p:cNvPr id="6" name="Graphic 3">
              <a:extLst>
                <a:ext uri="{FF2B5EF4-FFF2-40B4-BE49-F238E27FC236}">
                  <a16:creationId xmlns:a16="http://schemas.microsoft.com/office/drawing/2014/main" id="{E59F5C20-C5FB-5B2B-68C5-6BA66FAD4C32}"/>
                </a:ext>
              </a:extLst>
            </p:cNvPr>
            <p:cNvGrpSpPr/>
            <p:nvPr/>
          </p:nvGrpSpPr>
          <p:grpSpPr>
            <a:xfrm>
              <a:off x="10633946" y="6180322"/>
              <a:ext cx="1005290" cy="414704"/>
              <a:chOff x="10633946" y="6180322"/>
              <a:chExt cx="1005290" cy="414704"/>
            </a:xfrm>
          </p:grpSpPr>
          <p:sp>
            <p:nvSpPr>
              <p:cNvPr id="9" name="Freeform: Shape 8">
                <a:extLst>
                  <a:ext uri="{FF2B5EF4-FFF2-40B4-BE49-F238E27FC236}">
                    <a16:creationId xmlns:a16="http://schemas.microsoft.com/office/drawing/2014/main" id="{C3B32E92-2438-94F1-6114-F2A482DBFAED}"/>
                  </a:ext>
                </a:extLst>
              </p:cNvPr>
              <p:cNvSpPr/>
              <p:nvPr/>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5759094-3B25-815E-8493-8122769497D1}"/>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rgbClr val="002F2C"/>
              </a:solidFill>
              <a:ln w="1334" cap="flat">
                <a:noFill/>
                <a:prstDash val="solid"/>
                <a:miter/>
              </a:ln>
            </p:spPr>
            <p:txBody>
              <a:bodyPr rtlCol="0" anchor="ctr"/>
              <a:lstStyle/>
              <a:p>
                <a:endParaRPr lang="en-US"/>
              </a:p>
            </p:txBody>
          </p:sp>
        </p:grpSp>
        <p:sp>
          <p:nvSpPr>
            <p:cNvPr id="13" name="Freeform: Shape 12">
              <a:extLst>
                <a:ext uri="{FF2B5EF4-FFF2-40B4-BE49-F238E27FC236}">
                  <a16:creationId xmlns:a16="http://schemas.microsoft.com/office/drawing/2014/main" id="{C3CA7C5F-E41D-77FE-D2A0-1803C99B1744}"/>
                </a:ext>
              </a:extLst>
            </p:cNvPr>
            <p:cNvSpPr/>
            <p:nvPr userDrawn="1"/>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45CD6F29-3718-0341-775C-A535563EB958}"/>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grpSp>
      <p:sp>
        <p:nvSpPr>
          <p:cNvPr id="8" name="Rectangle 7">
            <a:extLst>
              <a:ext uri="{FF2B5EF4-FFF2-40B4-BE49-F238E27FC236}">
                <a16:creationId xmlns:a16="http://schemas.microsoft.com/office/drawing/2014/main" id="{903C432C-CB0E-7795-DD32-8800484A6F08}"/>
              </a:ext>
            </a:extLst>
          </p:cNvPr>
          <p:cNvSpPr/>
          <p:nvPr userDrawn="1"/>
        </p:nvSpPr>
        <p:spPr>
          <a:xfrm>
            <a:off x="10200456" y="5980615"/>
            <a:ext cx="1728192" cy="61703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nk arrows on a black background&#10;&#10;AI-generated content may be incorrect.">
            <a:extLst>
              <a:ext uri="{FF2B5EF4-FFF2-40B4-BE49-F238E27FC236}">
                <a16:creationId xmlns:a16="http://schemas.microsoft.com/office/drawing/2014/main" id="{542C33B0-AD0B-163C-36A1-ECBA19EA7C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530578" y="0"/>
            <a:ext cx="5661422" cy="6858000"/>
          </a:xfrm>
          <a:prstGeom prst="rect">
            <a:avLst/>
          </a:prstGeom>
        </p:spPr>
      </p:pic>
      <p:sp>
        <p:nvSpPr>
          <p:cNvPr id="4" name="Flight Mode" hidden="1">
            <a:extLst>
              <a:ext uri="{FF2B5EF4-FFF2-40B4-BE49-F238E27FC236}">
                <a16:creationId xmlns:a16="http://schemas.microsoft.com/office/drawing/2014/main" id="{9C227318-57A7-D913-2732-B73DB1E04D97}"/>
              </a:ext>
            </a:extLst>
          </p:cNvPr>
          <p:cNvSpPr/>
          <p:nvPr userDrawn="1">
            <p:custDataLst>
              <p:tags r:id="rId1"/>
            </p:custDataLst>
          </p:nvPr>
        </p:nvSpPr>
        <p:spPr>
          <a:xfrm>
            <a:off x="401587" y="5785839"/>
            <a:ext cx="1615733" cy="73878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5" name="MIO_Placeholder_Mapping" hidden="1">
            <a:extLst>
              <a:ext uri="{FF2B5EF4-FFF2-40B4-BE49-F238E27FC236}">
                <a16:creationId xmlns:a16="http://schemas.microsoft.com/office/drawing/2014/main" id="{869754CA-7A9E-F82A-B017-42522255CA22}"/>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0401618"/>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4CA95-B765-B39E-237D-5D05319A5A7E}"/>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C58964C5-7FA0-CCCC-1C30-91BD5EBD4B29}"/>
              </a:ext>
            </a:extLst>
          </p:cNvPr>
          <p:cNvSpPr>
            <a:spLocks noGrp="1"/>
          </p:cNvSpPr>
          <p:nvPr>
            <p:ph type="body" sz="quarter" idx="12" hasCustomPrompt="1"/>
          </p:nvPr>
        </p:nvSpPr>
        <p:spPr>
          <a:xfrm>
            <a:off x="551384" y="1196752"/>
            <a:ext cx="5472000" cy="719138"/>
          </a:xfrm>
          <a:solidFill>
            <a:schemeClr val="tx1"/>
          </a:solidFill>
        </p:spPr>
        <p:txBody>
          <a:bodyPr lIns="72000" tIns="72000" rIns="72000" bIns="72000">
            <a:normAutofit/>
          </a:bodyPr>
          <a:lstStyle>
            <a:lvl1pPr>
              <a:lnSpc>
                <a:spcPct val="100000"/>
              </a:lnSpc>
              <a:defRPr sz="1800" b="1">
                <a:solidFill>
                  <a:schemeClr val="bg1"/>
                </a:solidFill>
                <a:latin typeface="+mj-lt"/>
              </a:defRPr>
            </a:lvl1pPr>
          </a:lstStyle>
          <a:p>
            <a:pPr lvl="0"/>
            <a:r>
              <a:rPr lang="en-US"/>
              <a:t>Click to edit Master text styles </a:t>
            </a:r>
          </a:p>
        </p:txBody>
      </p:sp>
      <p:sp>
        <p:nvSpPr>
          <p:cNvPr id="9" name="Text Placeholder 5">
            <a:extLst>
              <a:ext uri="{FF2B5EF4-FFF2-40B4-BE49-F238E27FC236}">
                <a16:creationId xmlns:a16="http://schemas.microsoft.com/office/drawing/2014/main" id="{0F777FB8-224A-FE2F-EE47-EF094DBD703F}"/>
              </a:ext>
            </a:extLst>
          </p:cNvPr>
          <p:cNvSpPr>
            <a:spLocks noGrp="1"/>
          </p:cNvSpPr>
          <p:nvPr>
            <p:ph type="body" sz="quarter" idx="13"/>
          </p:nvPr>
        </p:nvSpPr>
        <p:spPr>
          <a:xfrm>
            <a:off x="6168008" y="1196752"/>
            <a:ext cx="5472000" cy="719138"/>
          </a:xfrm>
          <a:solidFill>
            <a:schemeClr val="tx1"/>
          </a:solidFill>
        </p:spPr>
        <p:txBody>
          <a:bodyPr lIns="72000" tIns="72000" rIns="72000" bIns="72000">
            <a:normAutofit/>
          </a:bodyPr>
          <a:lstStyle>
            <a:lvl1pPr>
              <a:lnSpc>
                <a:spcPct val="100000"/>
              </a:lnSpc>
              <a:defRPr sz="1800" b="1">
                <a:solidFill>
                  <a:schemeClr val="bg1"/>
                </a:solidFill>
                <a:latin typeface="+mj-lt"/>
              </a:defRPr>
            </a:lvl1pPr>
          </a:lstStyle>
          <a:p>
            <a:pPr lvl="0"/>
            <a:r>
              <a:rPr lang="en-US"/>
              <a:t>Click to edit Master text styles</a:t>
            </a:r>
          </a:p>
        </p:txBody>
      </p:sp>
      <p:sp>
        <p:nvSpPr>
          <p:cNvPr id="11" name="Content Placeholder 10">
            <a:extLst>
              <a:ext uri="{FF2B5EF4-FFF2-40B4-BE49-F238E27FC236}">
                <a16:creationId xmlns:a16="http://schemas.microsoft.com/office/drawing/2014/main" id="{8C4F5225-98C4-062A-B081-A82119FFF644}"/>
              </a:ext>
            </a:extLst>
          </p:cNvPr>
          <p:cNvSpPr>
            <a:spLocks noGrp="1"/>
          </p:cNvSpPr>
          <p:nvPr>
            <p:ph sz="quarter" idx="14"/>
          </p:nvPr>
        </p:nvSpPr>
        <p:spPr>
          <a:xfrm>
            <a:off x="550863" y="2060848"/>
            <a:ext cx="5472000" cy="40319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CB06AA18-1927-8C17-4E9F-320FA4A676AB}"/>
              </a:ext>
            </a:extLst>
          </p:cNvPr>
          <p:cNvSpPr>
            <a:spLocks noGrp="1"/>
          </p:cNvSpPr>
          <p:nvPr>
            <p:ph sz="quarter" idx="15"/>
          </p:nvPr>
        </p:nvSpPr>
        <p:spPr>
          <a:xfrm>
            <a:off x="6168616" y="2060848"/>
            <a:ext cx="5472000" cy="40319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1AA604-BA37-C370-0E4E-A2AB289F33EF}"/>
              </a:ext>
            </a:extLst>
          </p:cNvPr>
          <p:cNvSpPr>
            <a:spLocks noGrp="1"/>
          </p:cNvSpPr>
          <p:nvPr>
            <p:ph type="ftr" sz="quarter" idx="16"/>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6E97C579-1B43-D1E2-6B68-F80458FBE4A2}"/>
              </a:ext>
            </a:extLst>
          </p:cNvPr>
          <p:cNvSpPr>
            <a:spLocks noGrp="1"/>
          </p:cNvSpPr>
          <p:nvPr>
            <p:ph type="sldNum" sz="quarter" idx="17"/>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08A01AEB-F5F0-8156-CAFE-8663314DD23A}"/>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D54DFE97-7596-CDC2-0C40-8FCEB75F200B}"/>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8" name="Flight Mode" hidden="1">
            <a:extLst>
              <a:ext uri="{FF2B5EF4-FFF2-40B4-BE49-F238E27FC236}">
                <a16:creationId xmlns:a16="http://schemas.microsoft.com/office/drawing/2014/main" id="{DCB39D83-660F-5550-B4F1-94764654ACF8}"/>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0" name="MIO_Placeholder_Mapping" hidden="1">
            <a:extLst>
              <a:ext uri="{FF2B5EF4-FFF2-40B4-BE49-F238E27FC236}">
                <a16:creationId xmlns:a16="http://schemas.microsoft.com/office/drawing/2014/main" id="{B9A916FD-D65C-11C3-5E2A-14ECD9AA12C1}"/>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3410193"/>
      </p:ext>
    </p:extLst>
  </p:cSld>
  <p:clrMapOvr>
    <a:overrideClrMapping bg1="dk1" tx1="lt1" bg2="dk2" tx2="lt2" accent1="accent1" accent2="accent2" accent3="accent3" accent4="accent4" accent5="accent5" accent6="accent6" hlink="hlink" folHlink="folHlink"/>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Pict 3 Contents - Green">
    <p:bg>
      <p:bgRef idx="1001">
        <a:schemeClr val="bg2"/>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9C7BA17-7D21-318B-4D20-EEE6951DED0F}"/>
              </a:ext>
            </a:extLst>
          </p:cNvPr>
          <p:cNvSpPr>
            <a:spLocks noGrp="1"/>
          </p:cNvSpPr>
          <p:nvPr>
            <p:ph type="pic" sz="quarter" idx="12"/>
          </p:nvPr>
        </p:nvSpPr>
        <p:spPr>
          <a:xfrm>
            <a:off x="550862" y="332696"/>
            <a:ext cx="11090276" cy="2375579"/>
          </a:xfrm>
          <a:pattFill prst="wdUpDiag">
            <a:fgClr>
              <a:schemeClr val="bg1"/>
            </a:fgClr>
            <a:bgClr>
              <a:schemeClr val="bg1">
                <a:lumMod val="90000"/>
                <a:lumOff val="10000"/>
              </a:schemeClr>
            </a:bgClr>
          </a:pattFill>
        </p:spPr>
        <p:txBody>
          <a:bodyPr/>
          <a:lstStyle/>
          <a:p>
            <a:r>
              <a:rPr lang="en-US"/>
              <a:t>Click icon to add picture</a:t>
            </a:r>
          </a:p>
        </p:txBody>
      </p:sp>
      <p:sp>
        <p:nvSpPr>
          <p:cNvPr id="2" name="Title 1">
            <a:extLst>
              <a:ext uri="{FF2B5EF4-FFF2-40B4-BE49-F238E27FC236}">
                <a16:creationId xmlns:a16="http://schemas.microsoft.com/office/drawing/2014/main" id="{E3C7A30D-F73C-15D2-F503-F64A71A017C5}"/>
              </a:ext>
            </a:extLst>
          </p:cNvPr>
          <p:cNvSpPr>
            <a:spLocks noGrp="1"/>
          </p:cNvSpPr>
          <p:nvPr>
            <p:ph type="title"/>
          </p:nvPr>
        </p:nvSpPr>
        <p:spPr>
          <a:xfrm>
            <a:off x="479376" y="548680"/>
            <a:ext cx="8496349" cy="648072"/>
          </a:xfrm>
          <a:solidFill>
            <a:schemeClr val="bg1"/>
          </a:solidFill>
        </p:spPr>
        <p:txBody>
          <a:bodyPr lIns="72000" anchor="ctr"/>
          <a:lstStyle/>
          <a:p>
            <a:r>
              <a:rPr lang="en-US"/>
              <a:t>Click to edit Master title style</a:t>
            </a:r>
          </a:p>
        </p:txBody>
      </p:sp>
      <p:sp>
        <p:nvSpPr>
          <p:cNvPr id="8" name="Text Placeholder 7">
            <a:extLst>
              <a:ext uri="{FF2B5EF4-FFF2-40B4-BE49-F238E27FC236}">
                <a16:creationId xmlns:a16="http://schemas.microsoft.com/office/drawing/2014/main" id="{ED9446A4-609A-8903-AF39-EC6E95AAAE71}"/>
              </a:ext>
            </a:extLst>
          </p:cNvPr>
          <p:cNvSpPr>
            <a:spLocks noGrp="1"/>
          </p:cNvSpPr>
          <p:nvPr>
            <p:ph type="body" sz="quarter" idx="13"/>
          </p:nvPr>
        </p:nvSpPr>
        <p:spPr>
          <a:xfrm>
            <a:off x="550864"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9" name="Text Placeholder 7">
            <a:extLst>
              <a:ext uri="{FF2B5EF4-FFF2-40B4-BE49-F238E27FC236}">
                <a16:creationId xmlns:a16="http://schemas.microsoft.com/office/drawing/2014/main" id="{5E16756C-ABB1-5F68-A966-50D77CF2C661}"/>
              </a:ext>
            </a:extLst>
          </p:cNvPr>
          <p:cNvSpPr>
            <a:spLocks noGrp="1"/>
          </p:cNvSpPr>
          <p:nvPr>
            <p:ph type="body" sz="quarter" idx="14"/>
          </p:nvPr>
        </p:nvSpPr>
        <p:spPr>
          <a:xfrm>
            <a:off x="4295800"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10" name="Text Placeholder 7">
            <a:extLst>
              <a:ext uri="{FF2B5EF4-FFF2-40B4-BE49-F238E27FC236}">
                <a16:creationId xmlns:a16="http://schemas.microsoft.com/office/drawing/2014/main" id="{560557CF-767A-4879-9E54-F322A83EFB4B}"/>
              </a:ext>
            </a:extLst>
          </p:cNvPr>
          <p:cNvSpPr>
            <a:spLocks noGrp="1"/>
          </p:cNvSpPr>
          <p:nvPr>
            <p:ph type="body" sz="quarter" idx="15"/>
          </p:nvPr>
        </p:nvSpPr>
        <p:spPr>
          <a:xfrm>
            <a:off x="8040216"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12" name="Content Placeholder 11">
            <a:extLst>
              <a:ext uri="{FF2B5EF4-FFF2-40B4-BE49-F238E27FC236}">
                <a16:creationId xmlns:a16="http://schemas.microsoft.com/office/drawing/2014/main" id="{8E2596B3-F94E-6905-179D-41B90E572F7F}"/>
              </a:ext>
            </a:extLst>
          </p:cNvPr>
          <p:cNvSpPr>
            <a:spLocks noGrp="1"/>
          </p:cNvSpPr>
          <p:nvPr>
            <p:ph sz="quarter" idx="16"/>
          </p:nvPr>
        </p:nvSpPr>
        <p:spPr>
          <a:xfrm>
            <a:off x="550863"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BD106324-B2FC-9BA6-67EE-C0D5D3373CA2}"/>
              </a:ext>
            </a:extLst>
          </p:cNvPr>
          <p:cNvSpPr>
            <a:spLocks noGrp="1"/>
          </p:cNvSpPr>
          <p:nvPr>
            <p:ph sz="quarter" idx="17"/>
          </p:nvPr>
        </p:nvSpPr>
        <p:spPr>
          <a:xfrm>
            <a:off x="4295800"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1">
            <a:extLst>
              <a:ext uri="{FF2B5EF4-FFF2-40B4-BE49-F238E27FC236}">
                <a16:creationId xmlns:a16="http://schemas.microsoft.com/office/drawing/2014/main" id="{BB8B9043-3D0F-7EE2-759C-E27CF5EFE9FF}"/>
              </a:ext>
            </a:extLst>
          </p:cNvPr>
          <p:cNvSpPr>
            <a:spLocks noGrp="1"/>
          </p:cNvSpPr>
          <p:nvPr>
            <p:ph sz="quarter" idx="18"/>
          </p:nvPr>
        </p:nvSpPr>
        <p:spPr>
          <a:xfrm>
            <a:off x="8040216"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50E9D04-6A20-2C61-BF39-3587F111B480}"/>
              </a:ext>
            </a:extLst>
          </p:cNvPr>
          <p:cNvSpPr>
            <a:spLocks noGrp="1"/>
          </p:cNvSpPr>
          <p:nvPr>
            <p:ph type="ftr" sz="quarter" idx="19"/>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0409232B-629D-D527-D661-447E34994FF3}"/>
              </a:ext>
            </a:extLst>
          </p:cNvPr>
          <p:cNvSpPr>
            <a:spLocks noGrp="1"/>
          </p:cNvSpPr>
          <p:nvPr>
            <p:ph type="sldNum" sz="quarter" idx="20"/>
          </p:nvPr>
        </p:nvSpPr>
        <p:spPr/>
        <p:txBody>
          <a:bodyPr/>
          <a:lstStyle/>
          <a:p>
            <a:fld id="{59C7FD53-A61A-46D7-B725-1FF4E056D6EF}" type="slidenum">
              <a:rPr lang="en-US"/>
              <a:pPr/>
              <a:t>‹#›</a:t>
            </a:fld>
            <a:endParaRPr lang="en-US"/>
          </a:p>
        </p:txBody>
      </p:sp>
      <p:sp>
        <p:nvSpPr>
          <p:cNvPr id="3" name="Freeform: Shape 2">
            <a:extLst>
              <a:ext uri="{FF2B5EF4-FFF2-40B4-BE49-F238E27FC236}">
                <a16:creationId xmlns:a16="http://schemas.microsoft.com/office/drawing/2014/main" id="{A583F56B-5F9E-1235-B992-758E1D3A2F7C}"/>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4" name="Flight Mode" hidden="1">
            <a:extLst>
              <a:ext uri="{FF2B5EF4-FFF2-40B4-BE49-F238E27FC236}">
                <a16:creationId xmlns:a16="http://schemas.microsoft.com/office/drawing/2014/main" id="{D25B1F19-77BE-5AC4-7243-4442ECD3B6BF}"/>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1" name="MIO_Placeholder_Mapping" hidden="1">
            <a:extLst>
              <a:ext uri="{FF2B5EF4-FFF2-40B4-BE49-F238E27FC236}">
                <a16:creationId xmlns:a16="http://schemas.microsoft.com/office/drawing/2014/main" id="{6B451A29-1659-B6AE-168A-658CC8B5AFE6}"/>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3425506"/>
      </p:ext>
    </p:extLst>
  </p:cSld>
  <p:clrMapOvr>
    <a:overrideClrMapping bg1="dk1" tx1="lt1" bg2="dk2" tx2="lt2" accent1="accent1" accent2="accent2" accent3="accent3" accent4="accent4" accent5="accent5" accent6="accent6" hlink="hlink" folHlink="folHlink"/>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2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096B376-5836-A3D3-A2E7-6FE629218A6B}"/>
              </a:ext>
            </a:extLst>
          </p:cNvPr>
          <p:cNvSpPr>
            <a:spLocks noGrp="1"/>
          </p:cNvSpPr>
          <p:nvPr>
            <p:ph sz="quarter" idx="12"/>
          </p:nvPr>
        </p:nvSpPr>
        <p:spPr>
          <a:xfrm>
            <a:off x="551384" y="1197668"/>
            <a:ext cx="5473179" cy="489539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52D405B3-1349-FF5A-7235-8E36AF73BDB9}"/>
              </a:ext>
            </a:extLst>
          </p:cNvPr>
          <p:cNvSpPr>
            <a:spLocks noGrp="1"/>
          </p:cNvSpPr>
          <p:nvPr>
            <p:ph sz="quarter" idx="13"/>
          </p:nvPr>
        </p:nvSpPr>
        <p:spPr>
          <a:xfrm>
            <a:off x="6168008" y="1196975"/>
            <a:ext cx="5472000" cy="4895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0795940-CFF1-338E-C6DE-7B6EDE5B4358}"/>
              </a:ext>
            </a:extLst>
          </p:cNvPr>
          <p:cNvSpPr>
            <a:spLocks noGrp="1"/>
          </p:cNvSpPr>
          <p:nvPr>
            <p:ph type="ftr" sz="quarter" idx="14"/>
          </p:nvPr>
        </p:nvSpPr>
        <p:spPr/>
        <p:txBody>
          <a:bodyPr/>
          <a:lstStyle/>
          <a:p>
            <a:r>
              <a:rPr lang="en-US"/>
              <a:t>© SAG ARIS GmbH. All rights reserved.</a:t>
            </a:r>
          </a:p>
        </p:txBody>
      </p:sp>
      <p:sp>
        <p:nvSpPr>
          <p:cNvPr id="8" name="Slide Number Placeholder 7">
            <a:extLst>
              <a:ext uri="{FF2B5EF4-FFF2-40B4-BE49-F238E27FC236}">
                <a16:creationId xmlns:a16="http://schemas.microsoft.com/office/drawing/2014/main" id="{412B840B-8270-1AA6-19B1-71E23FC73AE6}"/>
              </a:ext>
            </a:extLst>
          </p:cNvPr>
          <p:cNvSpPr>
            <a:spLocks noGrp="1"/>
          </p:cNvSpPr>
          <p:nvPr>
            <p:ph type="sldNum" sz="quarter" idx="15"/>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697F11F7-7A9E-E49E-C886-B1FD547B381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D22C4EB9-E4BF-78A6-A611-C661338E31E0}"/>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9" name="Flight Mode" hidden="1">
            <a:extLst>
              <a:ext uri="{FF2B5EF4-FFF2-40B4-BE49-F238E27FC236}">
                <a16:creationId xmlns:a16="http://schemas.microsoft.com/office/drawing/2014/main" id="{42ADFDCD-E808-12AA-9BF2-AA3AD76D5A52}"/>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054418"/>
      </p:ext>
    </p:extLst>
  </p:cSld>
  <p:clrMapOvr>
    <a:overrideClrMapping bg1="dk1" tx1="lt1" bg2="dk2" tx2="lt2" accent1="accent1" accent2="accent2" accent3="accent3" accent4="accent4" accent5="accent5" accent6="accent6" hlink="hlink" folHlink="folHlink"/>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3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47960-1146-F72F-3D8D-A723C13CFDEC}"/>
              </a:ext>
            </a:extLst>
          </p:cNvPr>
          <p:cNvSpPr>
            <a:spLocks noGrp="1"/>
          </p:cNvSpPr>
          <p:nvPr>
            <p:ph type="title"/>
          </p:nvPr>
        </p:nvSpPr>
        <p:spPr>
          <a:xfrm>
            <a:off x="550862"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543C1026-D429-B46F-DDB7-7589B271F05E}"/>
              </a:ext>
            </a:extLst>
          </p:cNvPr>
          <p:cNvSpPr>
            <a:spLocks noGrp="1"/>
          </p:cNvSpPr>
          <p:nvPr>
            <p:ph sz="quarter" idx="12"/>
          </p:nvPr>
        </p:nvSpPr>
        <p:spPr>
          <a:xfrm>
            <a:off x="550863"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E67F7B8-B11B-C456-A2B3-0BFA3BD4D88B}"/>
              </a:ext>
            </a:extLst>
          </p:cNvPr>
          <p:cNvSpPr>
            <a:spLocks noGrp="1"/>
          </p:cNvSpPr>
          <p:nvPr>
            <p:ph sz="quarter" idx="13"/>
          </p:nvPr>
        </p:nvSpPr>
        <p:spPr>
          <a:xfrm>
            <a:off x="4295800"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FBFE457-DA14-B0B8-91EF-5C34AF08E5D3}"/>
              </a:ext>
            </a:extLst>
          </p:cNvPr>
          <p:cNvSpPr>
            <a:spLocks noGrp="1"/>
          </p:cNvSpPr>
          <p:nvPr>
            <p:ph sz="quarter" idx="14"/>
          </p:nvPr>
        </p:nvSpPr>
        <p:spPr>
          <a:xfrm>
            <a:off x="8040713"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1467242-BFD6-B17B-2A90-1AB3D4B7D2A6}"/>
              </a:ext>
            </a:extLst>
          </p:cNvPr>
          <p:cNvSpPr>
            <a:spLocks noGrp="1"/>
          </p:cNvSpPr>
          <p:nvPr>
            <p:ph type="ftr" sz="quarter" idx="15"/>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149F0FD6-8101-C6AE-F464-6167F149E2F8}"/>
              </a:ext>
            </a:extLst>
          </p:cNvPr>
          <p:cNvSpPr>
            <a:spLocks noGrp="1"/>
          </p:cNvSpPr>
          <p:nvPr>
            <p:ph type="sldNum" sz="quarter" idx="16"/>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70248D15-3C8B-A521-F3E7-5D538FDB9D9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1461447B-693E-A5C4-37DE-1FF064CFAB3B}"/>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9" name="Flight Mode" hidden="1">
            <a:extLst>
              <a:ext uri="{FF2B5EF4-FFF2-40B4-BE49-F238E27FC236}">
                <a16:creationId xmlns:a16="http://schemas.microsoft.com/office/drawing/2014/main" id="{40828960-2D82-FCE4-CAF1-7BA5695057D3}"/>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811468013"/>
      </p:ext>
    </p:extLst>
  </p:cSld>
  <p:clrMapOvr>
    <a:overrideClrMapping bg1="dk1" tx1="lt1" bg2="dk2" tx2="lt2" accent1="accent1" accent2="accent2" accent3="accent3" accent4="accent4" accent5="accent5" accent6="accent6" hlink="hlink" folHlink="folHlink"/>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4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47960-1146-F72F-3D8D-A723C13CFDEC}"/>
              </a:ext>
            </a:extLst>
          </p:cNvPr>
          <p:cNvSpPr>
            <a:spLocks noGrp="1"/>
          </p:cNvSpPr>
          <p:nvPr>
            <p:ph type="title"/>
          </p:nvPr>
        </p:nvSpPr>
        <p:spPr>
          <a:xfrm>
            <a:off x="550862"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543C1026-D429-B46F-DDB7-7589B271F05E}"/>
              </a:ext>
            </a:extLst>
          </p:cNvPr>
          <p:cNvSpPr>
            <a:spLocks noGrp="1"/>
          </p:cNvSpPr>
          <p:nvPr>
            <p:ph sz="quarter" idx="12"/>
          </p:nvPr>
        </p:nvSpPr>
        <p:spPr>
          <a:xfrm>
            <a:off x="550863" y="1196976"/>
            <a:ext cx="2663825"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E67F7B8-B11B-C456-A2B3-0BFA3BD4D88B}"/>
              </a:ext>
            </a:extLst>
          </p:cNvPr>
          <p:cNvSpPr>
            <a:spLocks noGrp="1"/>
          </p:cNvSpPr>
          <p:nvPr>
            <p:ph sz="quarter" idx="13"/>
          </p:nvPr>
        </p:nvSpPr>
        <p:spPr>
          <a:xfrm>
            <a:off x="3359696" y="1196976"/>
            <a:ext cx="2664867"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FBFE457-DA14-B0B8-91EF-5C34AF08E5D3}"/>
              </a:ext>
            </a:extLst>
          </p:cNvPr>
          <p:cNvSpPr>
            <a:spLocks noGrp="1"/>
          </p:cNvSpPr>
          <p:nvPr>
            <p:ph sz="quarter" idx="14"/>
          </p:nvPr>
        </p:nvSpPr>
        <p:spPr>
          <a:xfrm>
            <a:off x="6168008" y="1196976"/>
            <a:ext cx="2664842"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1467242-BFD6-B17B-2A90-1AB3D4B7D2A6}"/>
              </a:ext>
            </a:extLst>
          </p:cNvPr>
          <p:cNvSpPr>
            <a:spLocks noGrp="1"/>
          </p:cNvSpPr>
          <p:nvPr>
            <p:ph type="ftr" sz="quarter" idx="15"/>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149F0FD6-8101-C6AE-F464-6167F149E2F8}"/>
              </a:ext>
            </a:extLst>
          </p:cNvPr>
          <p:cNvSpPr>
            <a:spLocks noGrp="1"/>
          </p:cNvSpPr>
          <p:nvPr>
            <p:ph type="sldNum" sz="quarter" idx="16"/>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70248D15-3C8B-A521-F3E7-5D538FDB9D9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Content Placeholder 9">
            <a:extLst>
              <a:ext uri="{FF2B5EF4-FFF2-40B4-BE49-F238E27FC236}">
                <a16:creationId xmlns:a16="http://schemas.microsoft.com/office/drawing/2014/main" id="{4C1626A8-2301-15E3-C165-04B5297B89A5}"/>
              </a:ext>
            </a:extLst>
          </p:cNvPr>
          <p:cNvSpPr>
            <a:spLocks noGrp="1"/>
          </p:cNvSpPr>
          <p:nvPr>
            <p:ph sz="quarter" idx="17"/>
          </p:nvPr>
        </p:nvSpPr>
        <p:spPr>
          <a:xfrm>
            <a:off x="8976320" y="1196976"/>
            <a:ext cx="2664842"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DDC1BD29-990F-FE8C-3F7F-1B79135076DC}"/>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11" name="Flight Mode" hidden="1">
            <a:extLst>
              <a:ext uri="{FF2B5EF4-FFF2-40B4-BE49-F238E27FC236}">
                <a16:creationId xmlns:a16="http://schemas.microsoft.com/office/drawing/2014/main" id="{2D00EAAA-4AE7-4CFA-69C4-2539956A360A}"/>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2" name="MIO_Placeholder_Mapping" hidden="1">
            <a:extLst>
              <a:ext uri="{FF2B5EF4-FFF2-40B4-BE49-F238E27FC236}">
                <a16:creationId xmlns:a16="http://schemas.microsoft.com/office/drawing/2014/main" id="{806F9EC0-F1D6-25F0-3F44-89BAD95B380A}"/>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1301400"/>
      </p:ext>
    </p:extLst>
  </p:cSld>
  <p:clrMapOvr>
    <a:overrideClrMapping bg1="dk1" tx1="lt1" bg2="dk2" tx2="lt2" accent1="accent1" accent2="accent2" accent3="accent3" accent4="accent4" accent5="accent5" accent6="accent6" hlink="hlink" folHlink="folHlink"/>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picts 2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C68BE-3081-1A2B-BB49-35D49CD95E96}"/>
              </a:ext>
            </a:extLst>
          </p:cNvPr>
          <p:cNvSpPr>
            <a:spLocks noGrp="1"/>
          </p:cNvSpPr>
          <p:nvPr>
            <p:ph type="title"/>
          </p:nvPr>
        </p:nvSpPr>
        <p:spPr/>
        <p:txBody>
          <a:bodyPr/>
          <a:lstStyle/>
          <a:p>
            <a:r>
              <a:rPr lang="en-US"/>
              <a:t>Click to edit Master title style</a:t>
            </a:r>
          </a:p>
        </p:txBody>
      </p:sp>
      <p:sp>
        <p:nvSpPr>
          <p:cNvPr id="5" name="Content Placeholder 8">
            <a:extLst>
              <a:ext uri="{FF2B5EF4-FFF2-40B4-BE49-F238E27FC236}">
                <a16:creationId xmlns:a16="http://schemas.microsoft.com/office/drawing/2014/main" id="{2CD88B82-0A13-D547-DBE3-14AE0A23FB86}"/>
              </a:ext>
            </a:extLst>
          </p:cNvPr>
          <p:cNvSpPr>
            <a:spLocks noGrp="1"/>
          </p:cNvSpPr>
          <p:nvPr>
            <p:ph sz="quarter" idx="12" hasCustomPrompt="1"/>
          </p:nvPr>
        </p:nvSpPr>
        <p:spPr>
          <a:xfrm>
            <a:off x="551992" y="1197099"/>
            <a:ext cx="5472571" cy="2304132"/>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6" name="Content Placeholder 8">
            <a:extLst>
              <a:ext uri="{FF2B5EF4-FFF2-40B4-BE49-F238E27FC236}">
                <a16:creationId xmlns:a16="http://schemas.microsoft.com/office/drawing/2014/main" id="{32BEC77D-2BB4-F043-29AD-5383444EFDF4}"/>
              </a:ext>
            </a:extLst>
          </p:cNvPr>
          <p:cNvSpPr>
            <a:spLocks noGrp="1"/>
          </p:cNvSpPr>
          <p:nvPr>
            <p:ph sz="quarter" idx="13" hasCustomPrompt="1"/>
          </p:nvPr>
        </p:nvSpPr>
        <p:spPr>
          <a:xfrm>
            <a:off x="6168008" y="1196752"/>
            <a:ext cx="5470854" cy="2304132"/>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7" name="Content Placeholder 12">
            <a:extLst>
              <a:ext uri="{FF2B5EF4-FFF2-40B4-BE49-F238E27FC236}">
                <a16:creationId xmlns:a16="http://schemas.microsoft.com/office/drawing/2014/main" id="{456251D7-7010-E4DB-F881-6FCC5A1219A3}"/>
              </a:ext>
            </a:extLst>
          </p:cNvPr>
          <p:cNvSpPr>
            <a:spLocks noGrp="1"/>
          </p:cNvSpPr>
          <p:nvPr>
            <p:ph sz="quarter" idx="14"/>
          </p:nvPr>
        </p:nvSpPr>
        <p:spPr>
          <a:xfrm>
            <a:off x="551992" y="3645023"/>
            <a:ext cx="5472571" cy="2447802"/>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2">
            <a:extLst>
              <a:ext uri="{FF2B5EF4-FFF2-40B4-BE49-F238E27FC236}">
                <a16:creationId xmlns:a16="http://schemas.microsoft.com/office/drawing/2014/main" id="{1D31F5ED-F6F5-DCDE-82DD-6D532DBFEF0A}"/>
              </a:ext>
            </a:extLst>
          </p:cNvPr>
          <p:cNvSpPr>
            <a:spLocks noGrp="1"/>
          </p:cNvSpPr>
          <p:nvPr>
            <p:ph sz="quarter" idx="15"/>
          </p:nvPr>
        </p:nvSpPr>
        <p:spPr>
          <a:xfrm>
            <a:off x="6168008" y="3645023"/>
            <a:ext cx="5470854" cy="2447802"/>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31B85B14-7E47-9E3D-B3EF-04D4382DDEA2}"/>
              </a:ext>
            </a:extLst>
          </p:cNvPr>
          <p:cNvSpPr>
            <a:spLocks noGrp="1"/>
          </p:cNvSpPr>
          <p:nvPr>
            <p:ph type="ftr" sz="quarter" idx="16"/>
          </p:nvPr>
        </p:nvSpPr>
        <p:spPr/>
        <p:txBody>
          <a:bodyPr/>
          <a:lstStyle/>
          <a:p>
            <a:r>
              <a:rPr lang="en-US"/>
              <a:t>© SAG ARIS GmbH. All rights reserved.</a:t>
            </a:r>
          </a:p>
        </p:txBody>
      </p:sp>
      <p:sp>
        <p:nvSpPr>
          <p:cNvPr id="11" name="Slide Number Placeholder 10">
            <a:extLst>
              <a:ext uri="{FF2B5EF4-FFF2-40B4-BE49-F238E27FC236}">
                <a16:creationId xmlns:a16="http://schemas.microsoft.com/office/drawing/2014/main" id="{B891C790-A747-BAD8-B0F9-D833DB7A0E98}"/>
              </a:ext>
            </a:extLst>
          </p:cNvPr>
          <p:cNvSpPr>
            <a:spLocks noGrp="1"/>
          </p:cNvSpPr>
          <p:nvPr>
            <p:ph type="sldNum" sz="quarter" idx="17"/>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F4B770C0-2893-F9CA-5BC7-E6008101ED9F}"/>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3E8E7439-7481-76E9-97B3-58E159115A96}"/>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9" name="Flight Mode" hidden="1">
            <a:extLst>
              <a:ext uri="{FF2B5EF4-FFF2-40B4-BE49-F238E27FC236}">
                <a16:creationId xmlns:a16="http://schemas.microsoft.com/office/drawing/2014/main" id="{0E8A627D-ADE8-4845-28A1-3F405B4CCAEF}"/>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2" name="MIO_Placeholder_Mapping" hidden="1">
            <a:extLst>
              <a:ext uri="{FF2B5EF4-FFF2-40B4-BE49-F238E27FC236}">
                <a16:creationId xmlns:a16="http://schemas.microsoft.com/office/drawing/2014/main" id="{636B6500-D797-651A-E91D-C45713BCC3D0}"/>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6996852"/>
      </p:ext>
    </p:extLst>
  </p:cSld>
  <p:clrMapOvr>
    <a:overrideClrMapping bg1="dk1" tx1="lt1" bg2="dk2" tx2="lt2" accent1="accent1" accent2="accent2" accent3="accent3" accent4="accent4" accent5="accent5" accent6="accent6" hlink="hlink" folHlink="folHlink"/>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s 3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397F1-0814-B267-1984-6756C0C76095}"/>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B1A0B438-08D8-A1E9-0E9D-4C575AC9F421}"/>
              </a:ext>
            </a:extLst>
          </p:cNvPr>
          <p:cNvSpPr>
            <a:spLocks noGrp="1"/>
          </p:cNvSpPr>
          <p:nvPr>
            <p:ph sz="quarter" idx="12" hasCustomPrompt="1"/>
          </p:nvPr>
        </p:nvSpPr>
        <p:spPr>
          <a:xfrm>
            <a:off x="551992" y="1197099"/>
            <a:ext cx="3599321" cy="2303784"/>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11" name="Content Placeholder 8">
            <a:extLst>
              <a:ext uri="{FF2B5EF4-FFF2-40B4-BE49-F238E27FC236}">
                <a16:creationId xmlns:a16="http://schemas.microsoft.com/office/drawing/2014/main" id="{43FD8630-1A63-02B3-646A-3AEE4FC3A86C}"/>
              </a:ext>
            </a:extLst>
          </p:cNvPr>
          <p:cNvSpPr>
            <a:spLocks noGrp="1"/>
          </p:cNvSpPr>
          <p:nvPr>
            <p:ph sz="quarter" idx="13" hasCustomPrompt="1"/>
          </p:nvPr>
        </p:nvSpPr>
        <p:spPr>
          <a:xfrm>
            <a:off x="4295800" y="1196752"/>
            <a:ext cx="3599321" cy="2303784"/>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13" name="Content Placeholder 12">
            <a:extLst>
              <a:ext uri="{FF2B5EF4-FFF2-40B4-BE49-F238E27FC236}">
                <a16:creationId xmlns:a16="http://schemas.microsoft.com/office/drawing/2014/main" id="{0456104A-6D81-C64D-817B-67E2A3A9BE0C}"/>
              </a:ext>
            </a:extLst>
          </p:cNvPr>
          <p:cNvSpPr>
            <a:spLocks noGrp="1"/>
          </p:cNvSpPr>
          <p:nvPr>
            <p:ph sz="quarter" idx="14"/>
          </p:nvPr>
        </p:nvSpPr>
        <p:spPr>
          <a:xfrm>
            <a:off x="551992"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F65C997E-2278-4E56-37A6-EB4C7EEC1C52}"/>
              </a:ext>
            </a:extLst>
          </p:cNvPr>
          <p:cNvSpPr>
            <a:spLocks noGrp="1"/>
          </p:cNvSpPr>
          <p:nvPr>
            <p:ph sz="quarter" idx="15"/>
          </p:nvPr>
        </p:nvSpPr>
        <p:spPr>
          <a:xfrm>
            <a:off x="4295800"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a:extLst>
              <a:ext uri="{FF2B5EF4-FFF2-40B4-BE49-F238E27FC236}">
                <a16:creationId xmlns:a16="http://schemas.microsoft.com/office/drawing/2014/main" id="{4A711886-7106-5E98-C36A-B33A10E6109E}"/>
              </a:ext>
            </a:extLst>
          </p:cNvPr>
          <p:cNvSpPr>
            <a:spLocks noGrp="1"/>
          </p:cNvSpPr>
          <p:nvPr>
            <p:ph sz="quarter" idx="16" hasCustomPrompt="1"/>
          </p:nvPr>
        </p:nvSpPr>
        <p:spPr>
          <a:xfrm>
            <a:off x="8040216" y="1196752"/>
            <a:ext cx="3599321" cy="2303784"/>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16" name="Content Placeholder 12">
            <a:extLst>
              <a:ext uri="{FF2B5EF4-FFF2-40B4-BE49-F238E27FC236}">
                <a16:creationId xmlns:a16="http://schemas.microsoft.com/office/drawing/2014/main" id="{B8F42862-A11A-2F19-16B9-AC6652A9EFCE}"/>
              </a:ext>
            </a:extLst>
          </p:cNvPr>
          <p:cNvSpPr>
            <a:spLocks noGrp="1"/>
          </p:cNvSpPr>
          <p:nvPr>
            <p:ph sz="quarter" idx="17"/>
          </p:nvPr>
        </p:nvSpPr>
        <p:spPr>
          <a:xfrm>
            <a:off x="8040216" y="3644676"/>
            <a:ext cx="3599321" cy="2447925"/>
          </a:xfrm>
        </p:spPr>
        <p:txBody>
          <a:bodyPr/>
          <a:lstStyle>
            <a:lvl1pPr>
              <a:defRPr sz="1600" b="1">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B8E4287-48AF-84EB-2E2C-96DD4E16BC4B}"/>
              </a:ext>
            </a:extLst>
          </p:cNvPr>
          <p:cNvSpPr>
            <a:spLocks noGrp="1"/>
          </p:cNvSpPr>
          <p:nvPr>
            <p:ph type="ftr" sz="quarter" idx="18"/>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89635549-7376-2661-8A6F-3AF90A68C016}"/>
              </a:ext>
            </a:extLst>
          </p:cNvPr>
          <p:cNvSpPr>
            <a:spLocks noGrp="1"/>
          </p:cNvSpPr>
          <p:nvPr>
            <p:ph type="sldNum" sz="quarter" idx="19"/>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5C1BB7BA-A92A-FFCE-9336-42CA7DDD533D}"/>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ADBD2D0B-8261-8B55-B104-DC42FBCCD29D}"/>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5" name="Flight Mode" hidden="1">
            <a:extLst>
              <a:ext uri="{FF2B5EF4-FFF2-40B4-BE49-F238E27FC236}">
                <a16:creationId xmlns:a16="http://schemas.microsoft.com/office/drawing/2014/main" id="{CF244EE1-C0E6-88CA-2C88-24F090DEEEC2}"/>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8" name="MIO_Placeholder_Mapping" hidden="1">
            <a:extLst>
              <a:ext uri="{FF2B5EF4-FFF2-40B4-BE49-F238E27FC236}">
                <a16:creationId xmlns:a16="http://schemas.microsoft.com/office/drawing/2014/main" id="{AC07673C-B857-BDD7-903E-EF30342A2759}"/>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6862317"/>
      </p:ext>
    </p:extLst>
  </p:cSld>
  <p:clrMapOvr>
    <a:overrideClrMapping bg1="dk1" tx1="lt1" bg2="dk2" tx2="lt2" accent1="accent1" accent2="accent2" accent3="accent3" accent4="accent4" accent5="accent5" accent6="accent6" hlink="hlink" folHlink="folHlink"/>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icts 4 Contents - 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397F1-0814-B267-1984-6756C0C76095}"/>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B1A0B438-08D8-A1E9-0E9D-4C575AC9F421}"/>
              </a:ext>
            </a:extLst>
          </p:cNvPr>
          <p:cNvSpPr>
            <a:spLocks noGrp="1"/>
          </p:cNvSpPr>
          <p:nvPr>
            <p:ph sz="quarter" idx="12" hasCustomPrompt="1"/>
          </p:nvPr>
        </p:nvSpPr>
        <p:spPr>
          <a:xfrm>
            <a:off x="551993" y="1196752"/>
            <a:ext cx="2662696" cy="2303585"/>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13" name="Content Placeholder 12">
            <a:extLst>
              <a:ext uri="{FF2B5EF4-FFF2-40B4-BE49-F238E27FC236}">
                <a16:creationId xmlns:a16="http://schemas.microsoft.com/office/drawing/2014/main" id="{0456104A-6D81-C64D-817B-67E2A3A9BE0C}"/>
              </a:ext>
            </a:extLst>
          </p:cNvPr>
          <p:cNvSpPr>
            <a:spLocks noGrp="1"/>
          </p:cNvSpPr>
          <p:nvPr>
            <p:ph sz="quarter" idx="14" hasCustomPrompt="1"/>
          </p:nvPr>
        </p:nvSpPr>
        <p:spPr>
          <a:xfrm>
            <a:off x="551993"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0EE81861-DC94-4446-2135-60944D8CBEE6}"/>
              </a:ext>
            </a:extLst>
          </p:cNvPr>
          <p:cNvSpPr>
            <a:spLocks noGrp="1"/>
          </p:cNvSpPr>
          <p:nvPr>
            <p:ph sz="quarter" idx="15" hasCustomPrompt="1"/>
          </p:nvPr>
        </p:nvSpPr>
        <p:spPr>
          <a:xfrm>
            <a:off x="3359696" y="1196752"/>
            <a:ext cx="2662696" cy="2303585"/>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7" name="Content Placeholder 12">
            <a:extLst>
              <a:ext uri="{FF2B5EF4-FFF2-40B4-BE49-F238E27FC236}">
                <a16:creationId xmlns:a16="http://schemas.microsoft.com/office/drawing/2014/main" id="{3725FA80-7CD4-C867-D690-2FE699FED765}"/>
              </a:ext>
            </a:extLst>
          </p:cNvPr>
          <p:cNvSpPr>
            <a:spLocks noGrp="1"/>
          </p:cNvSpPr>
          <p:nvPr>
            <p:ph sz="quarter" idx="16" hasCustomPrompt="1"/>
          </p:nvPr>
        </p:nvSpPr>
        <p:spPr>
          <a:xfrm>
            <a:off x="3359696"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5B91C2C9-8C4D-2CD0-97E7-6ADC5C0E0B2A}"/>
              </a:ext>
            </a:extLst>
          </p:cNvPr>
          <p:cNvSpPr>
            <a:spLocks noGrp="1"/>
          </p:cNvSpPr>
          <p:nvPr>
            <p:ph sz="quarter" idx="17" hasCustomPrompt="1"/>
          </p:nvPr>
        </p:nvSpPr>
        <p:spPr>
          <a:xfrm>
            <a:off x="6168008" y="1196752"/>
            <a:ext cx="2662696" cy="2303585"/>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a:t>Insert graphic</a:t>
            </a:r>
          </a:p>
        </p:txBody>
      </p:sp>
      <p:sp>
        <p:nvSpPr>
          <p:cNvPr id="10" name="Content Placeholder 12">
            <a:extLst>
              <a:ext uri="{FF2B5EF4-FFF2-40B4-BE49-F238E27FC236}">
                <a16:creationId xmlns:a16="http://schemas.microsoft.com/office/drawing/2014/main" id="{C080695C-2AD3-8D41-C7CB-09FC2299ACDA}"/>
              </a:ext>
            </a:extLst>
          </p:cNvPr>
          <p:cNvSpPr>
            <a:spLocks noGrp="1"/>
          </p:cNvSpPr>
          <p:nvPr>
            <p:ph sz="quarter" idx="18" hasCustomPrompt="1"/>
          </p:nvPr>
        </p:nvSpPr>
        <p:spPr>
          <a:xfrm>
            <a:off x="6168008"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8D34A93E-2FC6-BF8D-2772-A48A947530BC}"/>
              </a:ext>
            </a:extLst>
          </p:cNvPr>
          <p:cNvSpPr>
            <a:spLocks noGrp="1"/>
          </p:cNvSpPr>
          <p:nvPr>
            <p:ph sz="quarter" idx="19" hasCustomPrompt="1"/>
          </p:nvPr>
        </p:nvSpPr>
        <p:spPr>
          <a:xfrm>
            <a:off x="8976320" y="1196752"/>
            <a:ext cx="2662696" cy="2303585"/>
          </a:xfrm>
          <a:pattFill prst="wdUpDiag">
            <a:fgClr>
              <a:schemeClr val="bg1"/>
            </a:fgClr>
            <a:bgClr>
              <a:schemeClr val="bg1">
                <a:lumMod val="90000"/>
                <a:lumOff val="10000"/>
              </a:schemeClr>
            </a:bgClr>
          </a:pattFill>
        </p:spPr>
        <p:txBody>
          <a:bodyPr bIns="900000" anchor="ctr">
            <a:normAutofit/>
          </a:bodyPr>
          <a:lstStyle>
            <a:lvl1pPr algn="ctr">
              <a:defRPr sz="1100"/>
            </a:lvl1pPr>
          </a:lstStyle>
          <a:p>
            <a:pPr lvl="0"/>
            <a:r>
              <a:rPr lang="en-US" dirty="0"/>
              <a:t>Insert graphic</a:t>
            </a:r>
          </a:p>
        </p:txBody>
      </p:sp>
      <p:sp>
        <p:nvSpPr>
          <p:cNvPr id="17" name="Content Placeholder 12">
            <a:extLst>
              <a:ext uri="{FF2B5EF4-FFF2-40B4-BE49-F238E27FC236}">
                <a16:creationId xmlns:a16="http://schemas.microsoft.com/office/drawing/2014/main" id="{66302D6E-7936-7865-9424-8BE5687EBC81}"/>
              </a:ext>
            </a:extLst>
          </p:cNvPr>
          <p:cNvSpPr>
            <a:spLocks noGrp="1"/>
          </p:cNvSpPr>
          <p:nvPr>
            <p:ph sz="quarter" idx="20" hasCustomPrompt="1"/>
          </p:nvPr>
        </p:nvSpPr>
        <p:spPr>
          <a:xfrm>
            <a:off x="8976320" y="3644353"/>
            <a:ext cx="2662696" cy="2447925"/>
          </a:xfrm>
        </p:spPr>
        <p:txBody>
          <a:bodyPr/>
          <a:lstStyle>
            <a:lvl1pPr>
              <a:defRPr b="1">
                <a:latin typeface="+mj-lt"/>
              </a:defRPr>
            </a:lvl1pPr>
          </a:lstStyle>
          <a:p>
            <a:pPr lvl="0"/>
            <a:r>
              <a:rPr lang="en-US"/>
              <a:t>Click to edit text style</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4B03755E-3A3C-64F6-687A-F62026EE4C35}"/>
              </a:ext>
            </a:extLst>
          </p:cNvPr>
          <p:cNvSpPr>
            <a:spLocks noGrp="1"/>
          </p:cNvSpPr>
          <p:nvPr>
            <p:ph type="ftr" sz="quarter" idx="21"/>
          </p:nvPr>
        </p:nvSpPr>
        <p:spPr/>
        <p:txBody>
          <a:bodyPr/>
          <a:lstStyle/>
          <a:p>
            <a:r>
              <a:rPr lang="en-US"/>
              <a:t>© SAG ARIS GmbH. All rights reserved.</a:t>
            </a:r>
          </a:p>
        </p:txBody>
      </p:sp>
      <p:sp>
        <p:nvSpPr>
          <p:cNvPr id="14" name="Slide Number Placeholder 13">
            <a:extLst>
              <a:ext uri="{FF2B5EF4-FFF2-40B4-BE49-F238E27FC236}">
                <a16:creationId xmlns:a16="http://schemas.microsoft.com/office/drawing/2014/main" id="{532448CE-4E7E-099D-13F7-EE230EF707AA}"/>
              </a:ext>
            </a:extLst>
          </p:cNvPr>
          <p:cNvSpPr>
            <a:spLocks noGrp="1"/>
          </p:cNvSpPr>
          <p:nvPr>
            <p:ph type="sldNum" sz="quarter" idx="22"/>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0CF91D12-E9E2-1A2B-146B-C2259E916835}"/>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reeform: Shape 3">
            <a:extLst>
              <a:ext uri="{FF2B5EF4-FFF2-40B4-BE49-F238E27FC236}">
                <a16:creationId xmlns:a16="http://schemas.microsoft.com/office/drawing/2014/main" id="{24D59B84-AD79-C5A2-35D0-0EAEEE3A97A9}"/>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5" name="Flight Mode" hidden="1">
            <a:extLst>
              <a:ext uri="{FF2B5EF4-FFF2-40B4-BE49-F238E27FC236}">
                <a16:creationId xmlns:a16="http://schemas.microsoft.com/office/drawing/2014/main" id="{AEC27EBE-32FC-7CE8-CA1A-59B1F7EE967E}"/>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15" name="MIO_Placeholder_Mapping" hidden="1">
            <a:extLst>
              <a:ext uri="{FF2B5EF4-FFF2-40B4-BE49-F238E27FC236}">
                <a16:creationId xmlns:a16="http://schemas.microsoft.com/office/drawing/2014/main" id="{B96D6ED0-3552-0E90-A269-D4E29BAF6ED8}"/>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552192"/>
      </p:ext>
    </p:extLst>
  </p:cSld>
  <p:clrMapOvr>
    <a:overrideClrMapping bg1="dk1" tx1="lt1" bg2="dk2" tx2="lt2" accent1="accent1" accent2="accent2" accent3="accent3" accent4="accent4" accent5="accent5" accent6="accent6" hlink="hlink" folHlink="folHlink"/>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ict - Green">
    <p:bg>
      <p:bgRef idx="1001">
        <a:schemeClr val="bg2"/>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9AE778D-3B5C-8620-F8C7-D46E0AA648F3}"/>
              </a:ext>
            </a:extLst>
          </p:cNvPr>
          <p:cNvSpPr>
            <a:spLocks noGrp="1"/>
          </p:cNvSpPr>
          <p:nvPr>
            <p:ph type="ftr" sz="quarter" idx="10"/>
          </p:nvPr>
        </p:nvSpPr>
        <p:spPr/>
        <p:txBody>
          <a:bodyPr/>
          <a:lstStyle/>
          <a:p>
            <a:r>
              <a:rPr lang="en-US"/>
              <a:t>© SAG ARIS GmbH. All rights reserved.</a:t>
            </a:r>
          </a:p>
        </p:txBody>
      </p:sp>
      <p:sp>
        <p:nvSpPr>
          <p:cNvPr id="4" name="Slide Number Placeholder 3">
            <a:extLst>
              <a:ext uri="{FF2B5EF4-FFF2-40B4-BE49-F238E27FC236}">
                <a16:creationId xmlns:a16="http://schemas.microsoft.com/office/drawing/2014/main" id="{8DDDB82C-F1A0-F913-0FFB-410A21D8180D}"/>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5" name="Picture Placeholder 31">
            <a:extLst>
              <a:ext uri="{FF2B5EF4-FFF2-40B4-BE49-F238E27FC236}">
                <a16:creationId xmlns:a16="http://schemas.microsoft.com/office/drawing/2014/main" id="{B00DC9E4-F4B7-7824-8039-7156CB222C33}"/>
              </a:ext>
            </a:extLst>
          </p:cNvPr>
          <p:cNvSpPr>
            <a:spLocks noGrp="1"/>
          </p:cNvSpPr>
          <p:nvPr>
            <p:ph type="pic" sz="quarter" idx="31"/>
          </p:nvPr>
        </p:nvSpPr>
        <p:spPr>
          <a:xfrm>
            <a:off x="-2" y="0"/>
            <a:ext cx="12192001" cy="5948826"/>
          </a:xfrm>
          <a:pattFill prst="wdUpDiag">
            <a:fgClr>
              <a:schemeClr val="bg1"/>
            </a:fgClr>
            <a:bgClr>
              <a:schemeClr val="bg1">
                <a:lumMod val="90000"/>
                <a:lumOff val="10000"/>
              </a:schemeClr>
            </a:bgClr>
          </a:pattFill>
        </p:spPr>
        <p:txBody>
          <a:bodyPr bIns="583200" anchor="ctr" anchorCtr="1"/>
          <a:lstStyle>
            <a:lvl1pPr>
              <a:defRPr baseline="0">
                <a:latin typeface="+mn-lt"/>
                <a:cs typeface="+mn-cs"/>
              </a:defRPr>
            </a:lvl1pPr>
          </a:lstStyle>
          <a:p>
            <a:r>
              <a:rPr lang="en-US"/>
              <a:t>Click icon to add picture</a:t>
            </a:r>
          </a:p>
        </p:txBody>
      </p:sp>
      <p:sp>
        <p:nvSpPr>
          <p:cNvPr id="2" name="Freeform: Shape 1">
            <a:extLst>
              <a:ext uri="{FF2B5EF4-FFF2-40B4-BE49-F238E27FC236}">
                <a16:creationId xmlns:a16="http://schemas.microsoft.com/office/drawing/2014/main" id="{75A810BF-6ECB-4BBA-224E-86555F6E83A5}"/>
              </a:ext>
            </a:extLst>
          </p:cNvPr>
          <p:cNvSpPr/>
          <p:nvPr userDrawn="1"/>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sp>
        <p:nvSpPr>
          <p:cNvPr id="6" name="Flight Mode" hidden="1">
            <a:extLst>
              <a:ext uri="{FF2B5EF4-FFF2-40B4-BE49-F238E27FC236}">
                <a16:creationId xmlns:a16="http://schemas.microsoft.com/office/drawing/2014/main" id="{8DD581A0-D51F-CF14-7A4B-B80DDFCEF233}"/>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314438010"/>
      </p:ext>
    </p:extLst>
  </p:cSld>
  <p:clrMapOvr>
    <a:overrideClrMapping bg1="dk1" tx1="lt1" bg2="dk2" tx2="lt2" accent1="accent1" accent2="accent2" accent3="accent3" accent4="accent4" accent5="accent5" accent6="accent6" hlink="hlink" folHlink="folHlink"/>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p:bg>
      <p:bgRef idx="1001">
        <a:schemeClr val="bg2"/>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7167D9C-0FB9-D6D7-2237-9D429778074C}"/>
              </a:ext>
            </a:extLst>
          </p:cNvPr>
          <p:cNvGrpSpPr>
            <a:grpSpLocks noChangeAspect="1"/>
          </p:cNvGrpSpPr>
          <p:nvPr userDrawn="1"/>
        </p:nvGrpSpPr>
        <p:grpSpPr>
          <a:xfrm>
            <a:off x="4584168" y="3356992"/>
            <a:ext cx="3024000" cy="1247467"/>
            <a:chOff x="10633946" y="6180322"/>
            <a:chExt cx="1005290" cy="414704"/>
          </a:xfrm>
        </p:grpSpPr>
        <p:grpSp>
          <p:nvGrpSpPr>
            <p:cNvPr id="8" name="Graphic 3">
              <a:extLst>
                <a:ext uri="{FF2B5EF4-FFF2-40B4-BE49-F238E27FC236}">
                  <a16:creationId xmlns:a16="http://schemas.microsoft.com/office/drawing/2014/main" id="{1C1C3912-77B1-799B-A6F3-0AA0AB0D1D5B}"/>
                </a:ext>
              </a:extLst>
            </p:cNvPr>
            <p:cNvGrpSpPr/>
            <p:nvPr/>
          </p:nvGrpSpPr>
          <p:grpSpPr>
            <a:xfrm>
              <a:off x="10633946" y="6180322"/>
              <a:ext cx="1005290" cy="414704"/>
              <a:chOff x="10633946" y="6180322"/>
              <a:chExt cx="1005290" cy="414704"/>
            </a:xfrm>
          </p:grpSpPr>
          <p:sp>
            <p:nvSpPr>
              <p:cNvPr id="11" name="Freeform: Shape 10">
                <a:extLst>
                  <a:ext uri="{FF2B5EF4-FFF2-40B4-BE49-F238E27FC236}">
                    <a16:creationId xmlns:a16="http://schemas.microsoft.com/office/drawing/2014/main" id="{0CCA817A-425B-4DD8-8A1E-1A650EE202A3}"/>
                  </a:ext>
                </a:extLst>
              </p:cNvPr>
              <p:cNvSpPr/>
              <p:nvPr/>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90ADFF2-8C4E-DB64-3EBF-E52ED8050738}"/>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rgbClr val="002F2C"/>
              </a:solidFill>
              <a:ln w="1334" cap="flat">
                <a:noFill/>
                <a:prstDash val="solid"/>
                <a:miter/>
              </a:ln>
            </p:spPr>
            <p:txBody>
              <a:bodyPr rtlCol="0" anchor="ctr"/>
              <a:lstStyle/>
              <a:p>
                <a:endParaRPr lang="en-US"/>
              </a:p>
            </p:txBody>
          </p:sp>
        </p:grpSp>
        <p:sp>
          <p:nvSpPr>
            <p:cNvPr id="9" name="Freeform: Shape 8">
              <a:extLst>
                <a:ext uri="{FF2B5EF4-FFF2-40B4-BE49-F238E27FC236}">
                  <a16:creationId xmlns:a16="http://schemas.microsoft.com/office/drawing/2014/main" id="{785945CD-B2A9-169A-F3AE-0E93041749DA}"/>
                </a:ext>
              </a:extLst>
            </p:cNvPr>
            <p:cNvSpPr/>
            <p:nvPr userDrawn="1"/>
          </p:nvSpPr>
          <p:spPr>
            <a:xfrm>
              <a:off x="11410582" y="6180322"/>
              <a:ext cx="228654" cy="246462"/>
            </a:xfrm>
            <a:custGeom>
              <a:avLst/>
              <a:gdLst>
                <a:gd name="connsiteX0" fmla="*/ 150025 w 228654"/>
                <a:gd name="connsiteY0" fmla="*/ 119925 h 246462"/>
                <a:gd name="connsiteX1" fmla="*/ 149837 w 228654"/>
                <a:gd name="connsiteY1" fmla="*/ 120033 h 246462"/>
                <a:gd name="connsiteX2" fmla="*/ 149918 w 228654"/>
                <a:gd name="connsiteY2" fmla="*/ 120086 h 246462"/>
                <a:gd name="connsiteX3" fmla="*/ 150120 w 228654"/>
                <a:gd name="connsiteY3" fmla="*/ 119979 h 246462"/>
                <a:gd name="connsiteX4" fmla="*/ 150025 w 228654"/>
                <a:gd name="connsiteY4" fmla="*/ 119939 h 246462"/>
                <a:gd name="connsiteX5" fmla="*/ 68525 w 228654"/>
                <a:gd name="connsiteY5" fmla="*/ 80909 h 246462"/>
                <a:gd name="connsiteX6" fmla="*/ 19147 w 228654"/>
                <a:gd name="connsiteY6" fmla="*/ 52806 h 246462"/>
                <a:gd name="connsiteX7" fmla="*/ 14927 w 228654"/>
                <a:gd name="connsiteY7" fmla="*/ 53948 h 246462"/>
                <a:gd name="connsiteX8" fmla="*/ 411 w 228654"/>
                <a:gd name="connsiteY8" fmla="*/ 79175 h 246462"/>
                <a:gd name="connsiteX9" fmla="*/ 1567 w 228654"/>
                <a:gd name="connsiteY9" fmla="*/ 83395 h 246462"/>
                <a:gd name="connsiteX10" fmla="*/ 70205 w 228654"/>
                <a:gd name="connsiteY10" fmla="*/ 122479 h 246462"/>
                <a:gd name="connsiteX11" fmla="*/ 1729 w 228654"/>
                <a:gd name="connsiteY11" fmla="*/ 161992 h 246462"/>
                <a:gd name="connsiteX12" fmla="*/ 600 w 228654"/>
                <a:gd name="connsiteY12" fmla="*/ 166213 h 246462"/>
                <a:gd name="connsiteX13" fmla="*/ 15222 w 228654"/>
                <a:gd name="connsiteY13" fmla="*/ 191359 h 246462"/>
                <a:gd name="connsiteX14" fmla="*/ 19469 w 228654"/>
                <a:gd name="connsiteY14" fmla="*/ 192488 h 246462"/>
                <a:gd name="connsiteX15" fmla="*/ 99478 w 228654"/>
                <a:gd name="connsiteY15" fmla="*/ 146281 h 246462"/>
                <a:gd name="connsiteX16" fmla="*/ 101413 w 228654"/>
                <a:gd name="connsiteY16" fmla="*/ 142935 h 246462"/>
                <a:gd name="connsiteX17" fmla="*/ 101413 w 228654"/>
                <a:gd name="connsiteY17" fmla="*/ 137075 h 246462"/>
                <a:gd name="connsiteX18" fmla="*/ 68512 w 228654"/>
                <a:gd name="connsiteY18" fmla="*/ 80909 h 246462"/>
                <a:gd name="connsiteX19" fmla="*/ 223112 w 228654"/>
                <a:gd name="connsiteY19" fmla="*/ 173013 h 246462"/>
                <a:gd name="connsiteX20" fmla="*/ 145147 w 228654"/>
                <a:gd name="connsiteY20" fmla="*/ 128661 h 246462"/>
                <a:gd name="connsiteX21" fmla="*/ 141263 w 228654"/>
                <a:gd name="connsiteY21" fmla="*/ 128661 h 246462"/>
                <a:gd name="connsiteX22" fmla="*/ 136169 w 228654"/>
                <a:gd name="connsiteY22" fmla="*/ 131618 h 246462"/>
                <a:gd name="connsiteX23" fmla="*/ 101547 w 228654"/>
                <a:gd name="connsiteY23" fmla="*/ 191829 h 246462"/>
                <a:gd name="connsiteX24" fmla="*/ 101534 w 228654"/>
                <a:gd name="connsiteY24" fmla="*/ 191829 h 246462"/>
                <a:gd name="connsiteX25" fmla="*/ 101722 w 228654"/>
                <a:gd name="connsiteY25" fmla="*/ 243385 h 246462"/>
                <a:gd name="connsiteX26" fmla="*/ 104854 w 228654"/>
                <a:gd name="connsiteY26" fmla="*/ 246463 h 246462"/>
                <a:gd name="connsiteX27" fmla="*/ 134059 w 228654"/>
                <a:gd name="connsiteY27" fmla="*/ 246355 h 246462"/>
                <a:gd name="connsiteX28" fmla="*/ 137150 w 228654"/>
                <a:gd name="connsiteY28" fmla="*/ 243251 h 246462"/>
                <a:gd name="connsiteX29" fmla="*/ 136827 w 228654"/>
                <a:gd name="connsiteY29" fmla="*/ 164546 h 246462"/>
                <a:gd name="connsiteX30" fmla="*/ 205492 w 228654"/>
                <a:gd name="connsiteY30" fmla="*/ 203603 h 246462"/>
                <a:gd name="connsiteX31" fmla="*/ 209726 w 228654"/>
                <a:gd name="connsiteY31" fmla="*/ 202460 h 246462"/>
                <a:gd name="connsiteX32" fmla="*/ 224241 w 228654"/>
                <a:gd name="connsiteY32" fmla="*/ 177233 h 246462"/>
                <a:gd name="connsiteX33" fmla="*/ 223099 w 228654"/>
                <a:gd name="connsiteY33" fmla="*/ 173013 h 246462"/>
                <a:gd name="connsiteX34" fmla="*/ 228260 w 228654"/>
                <a:gd name="connsiteY34" fmla="*/ 68369 h 246462"/>
                <a:gd name="connsiteX35" fmla="*/ 213570 w 228654"/>
                <a:gd name="connsiteY35" fmla="*/ 43250 h 246462"/>
                <a:gd name="connsiteX36" fmla="*/ 209309 w 228654"/>
                <a:gd name="connsiteY36" fmla="*/ 42135 h 246462"/>
                <a:gd name="connsiteX37" fmla="*/ 140994 w 228654"/>
                <a:gd name="connsiteY37" fmla="*/ 81783 h 246462"/>
                <a:gd name="connsiteX38" fmla="*/ 140685 w 228654"/>
                <a:gd name="connsiteY38" fmla="*/ 3078 h 246462"/>
                <a:gd name="connsiteX39" fmla="*/ 137567 w 228654"/>
                <a:gd name="connsiteY39" fmla="*/ 0 h 246462"/>
                <a:gd name="connsiteX40" fmla="*/ 108361 w 228654"/>
                <a:gd name="connsiteY40" fmla="*/ 108 h 246462"/>
                <a:gd name="connsiteX41" fmla="*/ 105270 w 228654"/>
                <a:gd name="connsiteY41" fmla="*/ 3212 h 246462"/>
                <a:gd name="connsiteX42" fmla="*/ 105593 w 228654"/>
                <a:gd name="connsiteY42" fmla="*/ 92588 h 246462"/>
                <a:gd name="connsiteX43" fmla="*/ 107542 w 228654"/>
                <a:gd name="connsiteY43" fmla="*/ 95921 h 246462"/>
                <a:gd name="connsiteX44" fmla="*/ 112676 w 228654"/>
                <a:gd name="connsiteY44" fmla="*/ 98824 h 246462"/>
                <a:gd name="connsiteX45" fmla="*/ 182376 w 228654"/>
                <a:gd name="connsiteY45" fmla="*/ 98569 h 246462"/>
                <a:gd name="connsiteX46" fmla="*/ 182376 w 228654"/>
                <a:gd name="connsiteY46" fmla="*/ 98569 h 246462"/>
                <a:gd name="connsiteX47" fmla="*/ 227117 w 228654"/>
                <a:gd name="connsiteY47" fmla="*/ 72603 h 246462"/>
                <a:gd name="connsiteX48" fmla="*/ 228233 w 228654"/>
                <a:gd name="connsiteY48" fmla="*/ 68369 h 24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8654" h="246462">
                  <a:moveTo>
                    <a:pt x="150025" y="119925"/>
                  </a:moveTo>
                  <a:lnTo>
                    <a:pt x="149837" y="120033"/>
                  </a:lnTo>
                  <a:lnTo>
                    <a:pt x="149918" y="120086"/>
                  </a:lnTo>
                  <a:lnTo>
                    <a:pt x="150120" y="119979"/>
                  </a:lnTo>
                  <a:lnTo>
                    <a:pt x="150025" y="119939"/>
                  </a:lnTo>
                  <a:close/>
                  <a:moveTo>
                    <a:pt x="68525" y="80909"/>
                  </a:moveTo>
                  <a:lnTo>
                    <a:pt x="19147" y="52806"/>
                  </a:lnTo>
                  <a:cubicBezTo>
                    <a:pt x="17668" y="51959"/>
                    <a:pt x="15787" y="52470"/>
                    <a:pt x="14927" y="53948"/>
                  </a:cubicBezTo>
                  <a:lnTo>
                    <a:pt x="411" y="79175"/>
                  </a:lnTo>
                  <a:cubicBezTo>
                    <a:pt x="-449" y="80654"/>
                    <a:pt x="89" y="82535"/>
                    <a:pt x="1567" y="83395"/>
                  </a:cubicBezTo>
                  <a:lnTo>
                    <a:pt x="70205" y="122479"/>
                  </a:lnTo>
                  <a:lnTo>
                    <a:pt x="1729" y="161992"/>
                  </a:lnTo>
                  <a:cubicBezTo>
                    <a:pt x="250" y="162853"/>
                    <a:pt x="-247" y="164734"/>
                    <a:pt x="600" y="166213"/>
                  </a:cubicBezTo>
                  <a:lnTo>
                    <a:pt x="15222" y="191359"/>
                  </a:lnTo>
                  <a:cubicBezTo>
                    <a:pt x="16096" y="192837"/>
                    <a:pt x="17991" y="193335"/>
                    <a:pt x="19469" y="192488"/>
                  </a:cubicBezTo>
                  <a:lnTo>
                    <a:pt x="99478" y="146281"/>
                  </a:lnTo>
                  <a:cubicBezTo>
                    <a:pt x="100674" y="145582"/>
                    <a:pt x="101413" y="144319"/>
                    <a:pt x="101413" y="142935"/>
                  </a:cubicBezTo>
                  <a:lnTo>
                    <a:pt x="101413" y="137075"/>
                  </a:lnTo>
                  <a:cubicBezTo>
                    <a:pt x="101305" y="113864"/>
                    <a:pt x="88779" y="92440"/>
                    <a:pt x="68512" y="80909"/>
                  </a:cubicBezTo>
                  <a:close/>
                  <a:moveTo>
                    <a:pt x="223112" y="173013"/>
                  </a:moveTo>
                  <a:lnTo>
                    <a:pt x="145147" y="128661"/>
                  </a:lnTo>
                  <a:cubicBezTo>
                    <a:pt x="143924" y="127976"/>
                    <a:pt x="142459" y="127976"/>
                    <a:pt x="141263" y="128661"/>
                  </a:cubicBezTo>
                  <a:lnTo>
                    <a:pt x="136169" y="131618"/>
                  </a:lnTo>
                  <a:cubicBezTo>
                    <a:pt x="114638" y="144090"/>
                    <a:pt x="101453" y="167046"/>
                    <a:pt x="101547" y="191829"/>
                  </a:cubicBezTo>
                  <a:lnTo>
                    <a:pt x="101534" y="191829"/>
                  </a:lnTo>
                  <a:cubicBezTo>
                    <a:pt x="101534" y="191829"/>
                    <a:pt x="101722" y="243385"/>
                    <a:pt x="101722" y="243385"/>
                  </a:cubicBezTo>
                  <a:cubicBezTo>
                    <a:pt x="101722" y="245092"/>
                    <a:pt x="103133" y="246476"/>
                    <a:pt x="104854" y="246463"/>
                  </a:cubicBezTo>
                  <a:lnTo>
                    <a:pt x="134059" y="246355"/>
                  </a:lnTo>
                  <a:cubicBezTo>
                    <a:pt x="135766" y="246355"/>
                    <a:pt x="137163" y="244958"/>
                    <a:pt x="137150" y="243251"/>
                  </a:cubicBezTo>
                  <a:lnTo>
                    <a:pt x="136827" y="164546"/>
                  </a:lnTo>
                  <a:lnTo>
                    <a:pt x="205492" y="203603"/>
                  </a:lnTo>
                  <a:cubicBezTo>
                    <a:pt x="206984" y="204463"/>
                    <a:pt x="208879" y="203939"/>
                    <a:pt x="209726" y="202460"/>
                  </a:cubicBezTo>
                  <a:lnTo>
                    <a:pt x="224241" y="177233"/>
                  </a:lnTo>
                  <a:cubicBezTo>
                    <a:pt x="225101" y="175755"/>
                    <a:pt x="224577" y="173873"/>
                    <a:pt x="223099" y="173013"/>
                  </a:cubicBezTo>
                  <a:close/>
                  <a:moveTo>
                    <a:pt x="228260" y="68369"/>
                  </a:moveTo>
                  <a:lnTo>
                    <a:pt x="213570" y="43250"/>
                  </a:lnTo>
                  <a:cubicBezTo>
                    <a:pt x="212710" y="41772"/>
                    <a:pt x="210788" y="41274"/>
                    <a:pt x="209309" y="42135"/>
                  </a:cubicBezTo>
                  <a:lnTo>
                    <a:pt x="140994" y="81783"/>
                  </a:lnTo>
                  <a:lnTo>
                    <a:pt x="140685" y="3078"/>
                  </a:lnTo>
                  <a:cubicBezTo>
                    <a:pt x="140685" y="1371"/>
                    <a:pt x="139273" y="-13"/>
                    <a:pt x="137567" y="0"/>
                  </a:cubicBezTo>
                  <a:lnTo>
                    <a:pt x="108361" y="108"/>
                  </a:lnTo>
                  <a:cubicBezTo>
                    <a:pt x="106641" y="108"/>
                    <a:pt x="105243" y="1505"/>
                    <a:pt x="105270" y="3212"/>
                  </a:cubicBezTo>
                  <a:lnTo>
                    <a:pt x="105593" y="92588"/>
                  </a:lnTo>
                  <a:cubicBezTo>
                    <a:pt x="105593" y="93959"/>
                    <a:pt x="106345" y="95236"/>
                    <a:pt x="107542" y="95921"/>
                  </a:cubicBezTo>
                  <a:lnTo>
                    <a:pt x="112676" y="98824"/>
                  </a:lnTo>
                  <a:cubicBezTo>
                    <a:pt x="134287" y="111135"/>
                    <a:pt x="160858" y="111041"/>
                    <a:pt x="182376" y="98569"/>
                  </a:cubicBezTo>
                  <a:lnTo>
                    <a:pt x="182376" y="98569"/>
                  </a:lnTo>
                  <a:cubicBezTo>
                    <a:pt x="182376" y="98569"/>
                    <a:pt x="227117" y="72603"/>
                    <a:pt x="227117" y="72603"/>
                  </a:cubicBezTo>
                  <a:cubicBezTo>
                    <a:pt x="228596" y="71756"/>
                    <a:pt x="229093" y="69848"/>
                    <a:pt x="228233" y="68369"/>
                  </a:cubicBezTo>
                  <a:close/>
                </a:path>
              </a:pathLst>
            </a:custGeom>
            <a:solidFill>
              <a:srgbClr val="FF5689"/>
            </a:solidFill>
            <a:ln w="133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FC55E46-7F6C-34A4-E477-3802779BF161}"/>
                </a:ext>
              </a:extLst>
            </p:cNvPr>
            <p:cNvSpPr/>
            <p:nvPr/>
          </p:nvSpPr>
          <p:spPr>
            <a:xfrm>
              <a:off x="10633946" y="6254726"/>
              <a:ext cx="750046" cy="340300"/>
            </a:xfrm>
            <a:custGeom>
              <a:avLst/>
              <a:gdLst>
                <a:gd name="connsiteX0" fmla="*/ 196641 w 750046"/>
                <a:gd name="connsiteY0" fmla="*/ 94107 h 340300"/>
                <a:gd name="connsiteX1" fmla="*/ 161710 w 750046"/>
                <a:gd name="connsiteY1" fmla="*/ 83866 h 340300"/>
                <a:gd name="connsiteX2" fmla="*/ 123917 w 750046"/>
                <a:gd name="connsiteY2" fmla="*/ 81245 h 340300"/>
                <a:gd name="connsiteX3" fmla="*/ 83005 w 750046"/>
                <a:gd name="connsiteY3" fmla="*/ 85304 h 340300"/>
                <a:gd name="connsiteX4" fmla="*/ 46408 w 750046"/>
                <a:gd name="connsiteY4" fmla="*/ 98878 h 340300"/>
                <a:gd name="connsiteX5" fmla="*/ 19622 w 750046"/>
                <a:gd name="connsiteY5" fmla="*/ 124118 h 340300"/>
                <a:gd name="connsiteX6" fmla="*/ 7674 w 750046"/>
                <a:gd name="connsiteY6" fmla="*/ 163645 h 340300"/>
                <a:gd name="connsiteX7" fmla="*/ 75587 w 750046"/>
                <a:gd name="connsiteY7" fmla="*/ 163645 h 340300"/>
                <a:gd name="connsiteX8" fmla="*/ 88973 w 750046"/>
                <a:gd name="connsiteY8" fmla="*/ 135085 h 340300"/>
                <a:gd name="connsiteX9" fmla="*/ 120543 w 750046"/>
                <a:gd name="connsiteY9" fmla="*/ 126511 h 340300"/>
                <a:gd name="connsiteX10" fmla="*/ 137532 w 750046"/>
                <a:gd name="connsiteY10" fmla="*/ 127693 h 340300"/>
                <a:gd name="connsiteX11" fmla="*/ 151415 w 750046"/>
                <a:gd name="connsiteY11" fmla="*/ 132465 h 340300"/>
                <a:gd name="connsiteX12" fmla="*/ 160984 w 750046"/>
                <a:gd name="connsiteY12" fmla="*/ 142464 h 340300"/>
                <a:gd name="connsiteX13" fmla="*/ 164559 w 750046"/>
                <a:gd name="connsiteY13" fmla="*/ 159842 h 340300"/>
                <a:gd name="connsiteX14" fmla="*/ 158350 w 750046"/>
                <a:gd name="connsiteY14" fmla="*/ 175795 h 340300"/>
                <a:gd name="connsiteX15" fmla="*/ 140166 w 750046"/>
                <a:gd name="connsiteY15" fmla="*/ 184128 h 340300"/>
                <a:gd name="connsiteX16" fmla="*/ 113850 w 750046"/>
                <a:gd name="connsiteY16" fmla="*/ 188429 h 340300"/>
                <a:gd name="connsiteX17" fmla="*/ 83718 w 750046"/>
                <a:gd name="connsiteY17" fmla="*/ 192232 h 340300"/>
                <a:gd name="connsiteX18" fmla="*/ 53330 w 750046"/>
                <a:gd name="connsiteY18" fmla="*/ 198657 h 340300"/>
                <a:gd name="connsiteX19" fmla="*/ 26544 w 750046"/>
                <a:gd name="connsiteY19" fmla="*/ 210793 h 340300"/>
                <a:gd name="connsiteX20" fmla="*/ 7419 w 750046"/>
                <a:gd name="connsiteY20" fmla="*/ 232458 h 340300"/>
                <a:gd name="connsiteX21" fmla="*/ 0 w 750046"/>
                <a:gd name="connsiteY21" fmla="*/ 266972 h 340300"/>
                <a:gd name="connsiteX22" fmla="*/ 6465 w 750046"/>
                <a:gd name="connsiteY22" fmla="*/ 299833 h 340300"/>
                <a:gd name="connsiteX23" fmla="*/ 24407 w 750046"/>
                <a:gd name="connsiteY23" fmla="*/ 322694 h 340300"/>
                <a:gd name="connsiteX24" fmla="*/ 51193 w 750046"/>
                <a:gd name="connsiteY24" fmla="*/ 336027 h 340300"/>
                <a:gd name="connsiteX25" fmla="*/ 84202 w 750046"/>
                <a:gd name="connsiteY25" fmla="*/ 340301 h 340300"/>
                <a:gd name="connsiteX26" fmla="*/ 129172 w 750046"/>
                <a:gd name="connsiteY26" fmla="*/ 333635 h 340300"/>
                <a:gd name="connsiteX27" fmla="*/ 167449 w 750046"/>
                <a:gd name="connsiteY27" fmla="*/ 310303 h 340300"/>
                <a:gd name="connsiteX28" fmla="*/ 167449 w 750046"/>
                <a:gd name="connsiteY28" fmla="*/ 334118 h 340300"/>
                <a:gd name="connsiteX29" fmla="*/ 232512 w 750046"/>
                <a:gd name="connsiteY29" fmla="*/ 334118 h 340300"/>
                <a:gd name="connsiteX30" fmla="*/ 232512 w 750046"/>
                <a:gd name="connsiteY30" fmla="*/ 151267 h 340300"/>
                <a:gd name="connsiteX31" fmla="*/ 222472 w 750046"/>
                <a:gd name="connsiteY31" fmla="*/ 115315 h 340300"/>
                <a:gd name="connsiteX32" fmla="*/ 196641 w 750046"/>
                <a:gd name="connsiteY32" fmla="*/ 94120 h 340300"/>
                <a:gd name="connsiteX33" fmla="*/ 164613 w 750046"/>
                <a:gd name="connsiteY33" fmla="*/ 238869 h 340300"/>
                <a:gd name="connsiteX34" fmla="*/ 163417 w 750046"/>
                <a:gd name="connsiteY34" fmla="*/ 254097 h 340300"/>
                <a:gd name="connsiteX35" fmla="*/ 156952 w 750046"/>
                <a:gd name="connsiteY35" fmla="*/ 272913 h 340300"/>
                <a:gd name="connsiteX36" fmla="*/ 140676 w 750046"/>
                <a:gd name="connsiteY36" fmla="*/ 288866 h 340300"/>
                <a:gd name="connsiteX37" fmla="*/ 109576 w 750046"/>
                <a:gd name="connsiteY37" fmla="*/ 295532 h 340300"/>
                <a:gd name="connsiteX38" fmla="*/ 93784 w 750046"/>
                <a:gd name="connsiteY38" fmla="*/ 294094 h 340300"/>
                <a:gd name="connsiteX39" fmla="*/ 80398 w 750046"/>
                <a:gd name="connsiteY39" fmla="*/ 289094 h 340300"/>
                <a:gd name="connsiteX40" fmla="*/ 71313 w 750046"/>
                <a:gd name="connsiteY40" fmla="*/ 279337 h 340300"/>
                <a:gd name="connsiteX41" fmla="*/ 67966 w 750046"/>
                <a:gd name="connsiteY41" fmla="*/ 264109 h 340300"/>
                <a:gd name="connsiteX42" fmla="*/ 71313 w 750046"/>
                <a:gd name="connsiteY42" fmla="*/ 248398 h 340300"/>
                <a:gd name="connsiteX43" fmla="*/ 80156 w 750046"/>
                <a:gd name="connsiteY43" fmla="*/ 238157 h 340300"/>
                <a:gd name="connsiteX44" fmla="*/ 93072 w 750046"/>
                <a:gd name="connsiteY44" fmla="*/ 231732 h 340300"/>
                <a:gd name="connsiteX45" fmla="*/ 108152 w 750046"/>
                <a:gd name="connsiteY45" fmla="*/ 227929 h 340300"/>
                <a:gd name="connsiteX46" fmla="*/ 124428 w 750046"/>
                <a:gd name="connsiteY46" fmla="*/ 225550 h 340300"/>
                <a:gd name="connsiteX47" fmla="*/ 139978 w 750046"/>
                <a:gd name="connsiteY47" fmla="*/ 223171 h 340300"/>
                <a:gd name="connsiteX48" fmla="*/ 153848 w 750046"/>
                <a:gd name="connsiteY48" fmla="*/ 219596 h 340300"/>
                <a:gd name="connsiteX49" fmla="*/ 164613 w 750046"/>
                <a:gd name="connsiteY49" fmla="*/ 213642 h 340300"/>
                <a:gd name="connsiteX50" fmla="*/ 164627 w 750046"/>
                <a:gd name="connsiteY50" fmla="*/ 213642 h 340300"/>
                <a:gd name="connsiteX51" fmla="*/ 164627 w 750046"/>
                <a:gd name="connsiteY51" fmla="*/ 238869 h 340300"/>
                <a:gd name="connsiteX52" fmla="*/ 403079 w 750046"/>
                <a:gd name="connsiteY52" fmla="*/ 87938 h 340300"/>
                <a:gd name="connsiteX53" fmla="*/ 389424 w 750046"/>
                <a:gd name="connsiteY53" fmla="*/ 89067 h 340300"/>
                <a:gd name="connsiteX54" fmla="*/ 378188 w 750046"/>
                <a:gd name="connsiteY54" fmla="*/ 91741 h 340300"/>
                <a:gd name="connsiteX55" fmla="*/ 355690 w 750046"/>
                <a:gd name="connsiteY55" fmla="*/ 102453 h 340300"/>
                <a:gd name="connsiteX56" fmla="*/ 337035 w 750046"/>
                <a:gd name="connsiteY56" fmla="*/ 119119 h 340300"/>
                <a:gd name="connsiteX57" fmla="*/ 324119 w 750046"/>
                <a:gd name="connsiteY57" fmla="*/ 140314 h 340300"/>
                <a:gd name="connsiteX58" fmla="*/ 323165 w 750046"/>
                <a:gd name="connsiteY58" fmla="*/ 140314 h 340300"/>
                <a:gd name="connsiteX59" fmla="*/ 323165 w 750046"/>
                <a:gd name="connsiteY59" fmla="*/ 87938 h 340300"/>
                <a:gd name="connsiteX60" fmla="*/ 258572 w 750046"/>
                <a:gd name="connsiteY60" fmla="*/ 87938 h 340300"/>
                <a:gd name="connsiteX61" fmla="*/ 258572 w 750046"/>
                <a:gd name="connsiteY61" fmla="*/ 334118 h 340300"/>
                <a:gd name="connsiteX62" fmla="*/ 326498 w 750046"/>
                <a:gd name="connsiteY62" fmla="*/ 334118 h 340300"/>
                <a:gd name="connsiteX63" fmla="*/ 326498 w 750046"/>
                <a:gd name="connsiteY63" fmla="*/ 229824 h 340300"/>
                <a:gd name="connsiteX64" fmla="*/ 329871 w 750046"/>
                <a:gd name="connsiteY64" fmla="*/ 198872 h 340300"/>
                <a:gd name="connsiteX65" fmla="*/ 335180 w 750046"/>
                <a:gd name="connsiteY65" fmla="*/ 183725 h 340300"/>
                <a:gd name="connsiteX66" fmla="*/ 341107 w 750046"/>
                <a:gd name="connsiteY66" fmla="*/ 173873 h 340300"/>
                <a:gd name="connsiteX67" fmla="*/ 361926 w 750046"/>
                <a:gd name="connsiteY67" fmla="*/ 156966 h 340300"/>
                <a:gd name="connsiteX68" fmla="*/ 393496 w 750046"/>
                <a:gd name="connsiteY68" fmla="*/ 150783 h 340300"/>
                <a:gd name="connsiteX69" fmla="*/ 406412 w 750046"/>
                <a:gd name="connsiteY69" fmla="*/ 151482 h 340300"/>
                <a:gd name="connsiteX70" fmla="*/ 411412 w 750046"/>
                <a:gd name="connsiteY70" fmla="*/ 152087 h 340300"/>
                <a:gd name="connsiteX71" fmla="*/ 417890 w 750046"/>
                <a:gd name="connsiteY71" fmla="*/ 153149 h 340300"/>
                <a:gd name="connsiteX72" fmla="*/ 417890 w 750046"/>
                <a:gd name="connsiteY72" fmla="*/ 90303 h 340300"/>
                <a:gd name="connsiteX73" fmla="*/ 403066 w 750046"/>
                <a:gd name="connsiteY73" fmla="*/ 87924 h 340300"/>
                <a:gd name="connsiteX74" fmla="*/ 403079 w 750046"/>
                <a:gd name="connsiteY74" fmla="*/ 87924 h 340300"/>
                <a:gd name="connsiteX75" fmla="*/ 438144 w 750046"/>
                <a:gd name="connsiteY75" fmla="*/ 334118 h 340300"/>
                <a:gd name="connsiteX76" fmla="*/ 506083 w 750046"/>
                <a:gd name="connsiteY76" fmla="*/ 334118 h 340300"/>
                <a:gd name="connsiteX77" fmla="*/ 506083 w 750046"/>
                <a:gd name="connsiteY77" fmla="*/ 87938 h 340300"/>
                <a:gd name="connsiteX78" fmla="*/ 438144 w 750046"/>
                <a:gd name="connsiteY78" fmla="*/ 87938 h 340300"/>
                <a:gd name="connsiteX79" fmla="*/ 438144 w 750046"/>
                <a:gd name="connsiteY79" fmla="*/ 334118 h 340300"/>
                <a:gd name="connsiteX80" fmla="*/ 743326 w 750046"/>
                <a:gd name="connsiteY80" fmla="*/ 226276 h 340300"/>
                <a:gd name="connsiteX81" fmla="*/ 725626 w 750046"/>
                <a:gd name="connsiteY81" fmla="*/ 206748 h 340300"/>
                <a:gd name="connsiteX82" fmla="*/ 700506 w 750046"/>
                <a:gd name="connsiteY82" fmla="*/ 194141 h 340300"/>
                <a:gd name="connsiteX83" fmla="*/ 671570 w 750046"/>
                <a:gd name="connsiteY83" fmla="*/ 186050 h 340300"/>
                <a:gd name="connsiteX84" fmla="*/ 643346 w 750046"/>
                <a:gd name="connsiteY84" fmla="*/ 179868 h 340300"/>
                <a:gd name="connsiteX85" fmla="*/ 618710 w 750046"/>
                <a:gd name="connsiteY85" fmla="*/ 173443 h 340300"/>
                <a:gd name="connsiteX86" fmla="*/ 601252 w 750046"/>
                <a:gd name="connsiteY86" fmla="*/ 164156 h 340300"/>
                <a:gd name="connsiteX87" fmla="*/ 594545 w 750046"/>
                <a:gd name="connsiteY87" fmla="*/ 149399 h 340300"/>
                <a:gd name="connsiteX88" fmla="*/ 598376 w 750046"/>
                <a:gd name="connsiteY88" fmla="*/ 137263 h 340300"/>
                <a:gd name="connsiteX89" fmla="*/ 607717 w 750046"/>
                <a:gd name="connsiteY89" fmla="*/ 130368 h 340300"/>
                <a:gd name="connsiteX90" fmla="*/ 619920 w 750046"/>
                <a:gd name="connsiteY90" fmla="*/ 127277 h 340300"/>
                <a:gd name="connsiteX91" fmla="*/ 632365 w 750046"/>
                <a:gd name="connsiteY91" fmla="*/ 126564 h 340300"/>
                <a:gd name="connsiteX92" fmla="*/ 663936 w 750046"/>
                <a:gd name="connsiteY92" fmla="*/ 133459 h 340300"/>
                <a:gd name="connsiteX93" fmla="*/ 678760 w 750046"/>
                <a:gd name="connsiteY93" fmla="*/ 159882 h 340300"/>
                <a:gd name="connsiteX94" fmla="*/ 743353 w 750046"/>
                <a:gd name="connsiteY94" fmla="*/ 159882 h 340300"/>
                <a:gd name="connsiteX95" fmla="*/ 731633 w 750046"/>
                <a:gd name="connsiteY95" fmla="*/ 122022 h 340300"/>
                <a:gd name="connsiteX96" fmla="*/ 706998 w 750046"/>
                <a:gd name="connsiteY96" fmla="*/ 97964 h 340300"/>
                <a:gd name="connsiteX97" fmla="*/ 673263 w 750046"/>
                <a:gd name="connsiteY97" fmla="*/ 85102 h 340300"/>
                <a:gd name="connsiteX98" fmla="*/ 634274 w 750046"/>
                <a:gd name="connsiteY98" fmla="*/ 81299 h 340300"/>
                <a:gd name="connsiteX99" fmla="*/ 595043 w 750046"/>
                <a:gd name="connsiteY99" fmla="*/ 84860 h 340300"/>
                <a:gd name="connsiteX100" fmla="*/ 560596 w 750046"/>
                <a:gd name="connsiteY100" fmla="*/ 97238 h 340300"/>
                <a:gd name="connsiteX101" fmla="*/ 535960 w 750046"/>
                <a:gd name="connsiteY101" fmla="*/ 121296 h 340300"/>
                <a:gd name="connsiteX102" fmla="*/ 526620 w 750046"/>
                <a:gd name="connsiteY102" fmla="*/ 160339 h 340300"/>
                <a:gd name="connsiteX103" fmla="*/ 533326 w 750046"/>
                <a:gd name="connsiteY103" fmla="*/ 187716 h 340300"/>
                <a:gd name="connsiteX104" fmla="*/ 551027 w 750046"/>
                <a:gd name="connsiteY104" fmla="*/ 206291 h 340300"/>
                <a:gd name="connsiteX105" fmla="*/ 576146 w 750046"/>
                <a:gd name="connsiteY105" fmla="*/ 218185 h 340300"/>
                <a:gd name="connsiteX106" fmla="*/ 605082 w 750046"/>
                <a:gd name="connsiteY106" fmla="*/ 226047 h 340300"/>
                <a:gd name="connsiteX107" fmla="*/ 661772 w 750046"/>
                <a:gd name="connsiteY107" fmla="*/ 241275 h 340300"/>
                <a:gd name="connsiteX108" fmla="*/ 682107 w 750046"/>
                <a:gd name="connsiteY108" fmla="*/ 264123 h 340300"/>
                <a:gd name="connsiteX109" fmla="*/ 677793 w 750046"/>
                <a:gd name="connsiteY109" fmla="*/ 279122 h 340300"/>
                <a:gd name="connsiteX110" fmla="*/ 667041 w 750046"/>
                <a:gd name="connsiteY110" fmla="*/ 288637 h 340300"/>
                <a:gd name="connsiteX111" fmla="*/ 652687 w 750046"/>
                <a:gd name="connsiteY111" fmla="*/ 293879 h 340300"/>
                <a:gd name="connsiteX112" fmla="*/ 637607 w 750046"/>
                <a:gd name="connsiteY112" fmla="*/ 295559 h 340300"/>
                <a:gd name="connsiteX113" fmla="*/ 618227 w 750046"/>
                <a:gd name="connsiteY113" fmla="*/ 293180 h 340300"/>
                <a:gd name="connsiteX114" fmla="*/ 601722 w 750046"/>
                <a:gd name="connsiteY114" fmla="*/ 285788 h 340300"/>
                <a:gd name="connsiteX115" fmla="*/ 590003 w 750046"/>
                <a:gd name="connsiteY115" fmla="*/ 272926 h 340300"/>
                <a:gd name="connsiteX116" fmla="*/ 590029 w 750046"/>
                <a:gd name="connsiteY116" fmla="*/ 272926 h 340300"/>
                <a:gd name="connsiteX117" fmla="*/ 585487 w 750046"/>
                <a:gd name="connsiteY117" fmla="*/ 254124 h 340300"/>
                <a:gd name="connsiteX118" fmla="*/ 520894 w 750046"/>
                <a:gd name="connsiteY118" fmla="*/ 254124 h 340300"/>
                <a:gd name="connsiteX119" fmla="*/ 532143 w 750046"/>
                <a:gd name="connsiteY119" fmla="*/ 295317 h 340300"/>
                <a:gd name="connsiteX120" fmla="*/ 558459 w 750046"/>
                <a:gd name="connsiteY120" fmla="*/ 321740 h 340300"/>
                <a:gd name="connsiteX121" fmla="*/ 595043 w 750046"/>
                <a:gd name="connsiteY121" fmla="*/ 336027 h 340300"/>
                <a:gd name="connsiteX122" fmla="*/ 637150 w 750046"/>
                <a:gd name="connsiteY122" fmla="*/ 340301 h 340300"/>
                <a:gd name="connsiteX123" fmla="*/ 678532 w 750046"/>
                <a:gd name="connsiteY123" fmla="*/ 336255 h 340300"/>
                <a:gd name="connsiteX124" fmla="*/ 714659 w 750046"/>
                <a:gd name="connsiteY124" fmla="*/ 322211 h 340300"/>
                <a:gd name="connsiteX125" fmla="*/ 740235 w 750046"/>
                <a:gd name="connsiteY125" fmla="*/ 295788 h 340300"/>
                <a:gd name="connsiteX126" fmla="*/ 750046 w 750046"/>
                <a:gd name="connsiteY126" fmla="*/ 255064 h 340300"/>
                <a:gd name="connsiteX127" fmla="*/ 743340 w 750046"/>
                <a:gd name="connsiteY127" fmla="*/ 226262 h 340300"/>
                <a:gd name="connsiteX128" fmla="*/ 492294 w 750046"/>
                <a:gd name="connsiteY128" fmla="*/ 4207 h 340300"/>
                <a:gd name="connsiteX129" fmla="*/ 472120 w 750046"/>
                <a:gd name="connsiteY129" fmla="*/ 0 h 340300"/>
                <a:gd name="connsiteX130" fmla="*/ 452175 w 750046"/>
                <a:gd name="connsiteY130" fmla="*/ 4207 h 340300"/>
                <a:gd name="connsiteX131" fmla="*/ 438104 w 750046"/>
                <a:gd name="connsiteY131" fmla="*/ 16101 h 340300"/>
                <a:gd name="connsiteX132" fmla="*/ 433171 w 750046"/>
                <a:gd name="connsiteY132" fmla="*/ 33143 h 340300"/>
                <a:gd name="connsiteX133" fmla="*/ 438104 w 750046"/>
                <a:gd name="connsiteY133" fmla="*/ 50642 h 340300"/>
                <a:gd name="connsiteX134" fmla="*/ 452175 w 750046"/>
                <a:gd name="connsiteY134" fmla="*/ 62778 h 340300"/>
                <a:gd name="connsiteX135" fmla="*/ 472120 w 750046"/>
                <a:gd name="connsiteY135" fmla="*/ 67213 h 340300"/>
                <a:gd name="connsiteX136" fmla="*/ 492294 w 750046"/>
                <a:gd name="connsiteY136" fmla="*/ 62778 h 340300"/>
                <a:gd name="connsiteX137" fmla="*/ 506124 w 750046"/>
                <a:gd name="connsiteY137" fmla="*/ 50642 h 340300"/>
                <a:gd name="connsiteX138" fmla="*/ 511056 w 750046"/>
                <a:gd name="connsiteY138" fmla="*/ 33143 h 340300"/>
                <a:gd name="connsiteX139" fmla="*/ 506124 w 750046"/>
                <a:gd name="connsiteY139" fmla="*/ 16101 h 340300"/>
                <a:gd name="connsiteX140" fmla="*/ 492294 w 750046"/>
                <a:gd name="connsiteY140" fmla="*/ 4207 h 3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0046" h="340300">
                  <a:moveTo>
                    <a:pt x="196641" y="94107"/>
                  </a:moveTo>
                  <a:cubicBezTo>
                    <a:pt x="186117" y="89040"/>
                    <a:pt x="174465" y="85626"/>
                    <a:pt x="161710" y="83866"/>
                  </a:cubicBezTo>
                  <a:cubicBezTo>
                    <a:pt x="148956" y="82132"/>
                    <a:pt x="136362" y="81245"/>
                    <a:pt x="123917" y="81245"/>
                  </a:cubicBezTo>
                  <a:cubicBezTo>
                    <a:pt x="110195" y="81245"/>
                    <a:pt x="96553" y="82602"/>
                    <a:pt x="83005" y="85304"/>
                  </a:cubicBezTo>
                  <a:cubicBezTo>
                    <a:pt x="69444" y="88005"/>
                    <a:pt x="57241" y="92521"/>
                    <a:pt x="46408" y="98878"/>
                  </a:cubicBezTo>
                  <a:cubicBezTo>
                    <a:pt x="35576" y="105235"/>
                    <a:pt x="26638" y="113635"/>
                    <a:pt x="19622" y="124118"/>
                  </a:cubicBezTo>
                  <a:cubicBezTo>
                    <a:pt x="12607" y="134602"/>
                    <a:pt x="8615" y="147773"/>
                    <a:pt x="7674" y="163645"/>
                  </a:cubicBezTo>
                  <a:lnTo>
                    <a:pt x="75587" y="163645"/>
                  </a:lnTo>
                  <a:cubicBezTo>
                    <a:pt x="76863" y="150313"/>
                    <a:pt x="81325" y="140797"/>
                    <a:pt x="88973" y="135085"/>
                  </a:cubicBezTo>
                  <a:cubicBezTo>
                    <a:pt x="96620" y="129373"/>
                    <a:pt x="107157" y="126511"/>
                    <a:pt x="120543" y="126511"/>
                  </a:cubicBezTo>
                  <a:cubicBezTo>
                    <a:pt x="126605" y="126511"/>
                    <a:pt x="132263" y="126900"/>
                    <a:pt x="137532" y="127693"/>
                  </a:cubicBezTo>
                  <a:cubicBezTo>
                    <a:pt x="142800" y="128500"/>
                    <a:pt x="147423" y="130086"/>
                    <a:pt x="151415" y="132465"/>
                  </a:cubicBezTo>
                  <a:cubicBezTo>
                    <a:pt x="155393" y="134844"/>
                    <a:pt x="158592" y="138177"/>
                    <a:pt x="160984" y="142464"/>
                  </a:cubicBezTo>
                  <a:cubicBezTo>
                    <a:pt x="163377" y="146765"/>
                    <a:pt x="164559" y="152544"/>
                    <a:pt x="164559" y="159842"/>
                  </a:cubicBezTo>
                  <a:cubicBezTo>
                    <a:pt x="164882" y="166817"/>
                    <a:pt x="162812" y="172153"/>
                    <a:pt x="158350" y="175795"/>
                  </a:cubicBezTo>
                  <a:cubicBezTo>
                    <a:pt x="153888" y="179451"/>
                    <a:pt x="147827" y="182220"/>
                    <a:pt x="140166" y="184128"/>
                  </a:cubicBezTo>
                  <a:cubicBezTo>
                    <a:pt x="132518" y="186050"/>
                    <a:pt x="123742" y="187461"/>
                    <a:pt x="113850" y="188429"/>
                  </a:cubicBezTo>
                  <a:cubicBezTo>
                    <a:pt x="103958" y="189370"/>
                    <a:pt x="93919" y="190660"/>
                    <a:pt x="83718" y="192232"/>
                  </a:cubicBezTo>
                  <a:cubicBezTo>
                    <a:pt x="73503" y="193832"/>
                    <a:pt x="63383" y="195969"/>
                    <a:pt x="53330" y="198657"/>
                  </a:cubicBezTo>
                  <a:cubicBezTo>
                    <a:pt x="43290" y="201358"/>
                    <a:pt x="34353" y="205404"/>
                    <a:pt x="26544" y="210793"/>
                  </a:cubicBezTo>
                  <a:cubicBezTo>
                    <a:pt x="18722" y="216182"/>
                    <a:pt x="12351" y="223400"/>
                    <a:pt x="7419" y="232458"/>
                  </a:cubicBezTo>
                  <a:cubicBezTo>
                    <a:pt x="2460" y="241503"/>
                    <a:pt x="0" y="253008"/>
                    <a:pt x="0" y="266972"/>
                  </a:cubicBezTo>
                  <a:cubicBezTo>
                    <a:pt x="0" y="279673"/>
                    <a:pt x="2164" y="290627"/>
                    <a:pt x="6465" y="299833"/>
                  </a:cubicBezTo>
                  <a:cubicBezTo>
                    <a:pt x="10765" y="309053"/>
                    <a:pt x="16746" y="316660"/>
                    <a:pt x="24407" y="322694"/>
                  </a:cubicBezTo>
                  <a:cubicBezTo>
                    <a:pt x="32054" y="328729"/>
                    <a:pt x="40979" y="333164"/>
                    <a:pt x="51193" y="336027"/>
                  </a:cubicBezTo>
                  <a:cubicBezTo>
                    <a:pt x="61407" y="338876"/>
                    <a:pt x="72401" y="340301"/>
                    <a:pt x="84202" y="340301"/>
                  </a:cubicBezTo>
                  <a:cubicBezTo>
                    <a:pt x="99510" y="340301"/>
                    <a:pt x="114495" y="338070"/>
                    <a:pt x="129172" y="333635"/>
                  </a:cubicBezTo>
                  <a:cubicBezTo>
                    <a:pt x="143848" y="329186"/>
                    <a:pt x="156603" y="321418"/>
                    <a:pt x="167449" y="310303"/>
                  </a:cubicBezTo>
                  <a:cubicBezTo>
                    <a:pt x="167772" y="314429"/>
                    <a:pt x="167449" y="334118"/>
                    <a:pt x="167449" y="334118"/>
                  </a:cubicBezTo>
                  <a:lnTo>
                    <a:pt x="232512" y="334118"/>
                  </a:lnTo>
                  <a:lnTo>
                    <a:pt x="232512" y="151267"/>
                  </a:lnTo>
                  <a:cubicBezTo>
                    <a:pt x="232512" y="136349"/>
                    <a:pt x="229179" y="124360"/>
                    <a:pt x="222472" y="115315"/>
                  </a:cubicBezTo>
                  <a:cubicBezTo>
                    <a:pt x="215766" y="106270"/>
                    <a:pt x="207164" y="99214"/>
                    <a:pt x="196641" y="94120"/>
                  </a:cubicBezTo>
                  <a:close/>
                  <a:moveTo>
                    <a:pt x="164613" y="238869"/>
                  </a:moveTo>
                  <a:cubicBezTo>
                    <a:pt x="164613" y="242673"/>
                    <a:pt x="164210" y="247753"/>
                    <a:pt x="163417" y="254097"/>
                  </a:cubicBezTo>
                  <a:cubicBezTo>
                    <a:pt x="162624" y="260467"/>
                    <a:pt x="160460" y="266730"/>
                    <a:pt x="156952" y="272913"/>
                  </a:cubicBezTo>
                  <a:cubicBezTo>
                    <a:pt x="153431" y="279095"/>
                    <a:pt x="148015" y="284417"/>
                    <a:pt x="140676" y="288866"/>
                  </a:cubicBezTo>
                  <a:cubicBezTo>
                    <a:pt x="133325" y="293315"/>
                    <a:pt x="122963" y="295532"/>
                    <a:pt x="109576" y="295532"/>
                  </a:cubicBezTo>
                  <a:cubicBezTo>
                    <a:pt x="104147" y="295532"/>
                    <a:pt x="98878" y="295062"/>
                    <a:pt x="93784" y="294094"/>
                  </a:cubicBezTo>
                  <a:cubicBezTo>
                    <a:pt x="88691" y="293153"/>
                    <a:pt x="84215" y="291473"/>
                    <a:pt x="80398" y="289094"/>
                  </a:cubicBezTo>
                  <a:cubicBezTo>
                    <a:pt x="76581" y="286716"/>
                    <a:pt x="73544" y="283463"/>
                    <a:pt x="71313" y="279337"/>
                  </a:cubicBezTo>
                  <a:cubicBezTo>
                    <a:pt x="69082" y="275224"/>
                    <a:pt x="67966" y="270440"/>
                    <a:pt x="67966" y="264109"/>
                  </a:cubicBezTo>
                  <a:cubicBezTo>
                    <a:pt x="67966" y="257779"/>
                    <a:pt x="69082" y="252538"/>
                    <a:pt x="71313" y="248398"/>
                  </a:cubicBezTo>
                  <a:cubicBezTo>
                    <a:pt x="73530" y="244272"/>
                    <a:pt x="76487" y="240858"/>
                    <a:pt x="80156" y="238157"/>
                  </a:cubicBezTo>
                  <a:cubicBezTo>
                    <a:pt x="83812" y="235455"/>
                    <a:pt x="88126" y="233332"/>
                    <a:pt x="93072" y="231732"/>
                  </a:cubicBezTo>
                  <a:cubicBezTo>
                    <a:pt x="98018" y="230147"/>
                    <a:pt x="103031" y="228883"/>
                    <a:pt x="108152" y="227929"/>
                  </a:cubicBezTo>
                  <a:cubicBezTo>
                    <a:pt x="113568" y="226988"/>
                    <a:pt x="118984" y="226195"/>
                    <a:pt x="124428" y="225550"/>
                  </a:cubicBezTo>
                  <a:cubicBezTo>
                    <a:pt x="129844" y="224932"/>
                    <a:pt x="135032" y="224139"/>
                    <a:pt x="139978" y="223171"/>
                  </a:cubicBezTo>
                  <a:cubicBezTo>
                    <a:pt x="144910" y="222217"/>
                    <a:pt x="149547" y="221021"/>
                    <a:pt x="153848" y="219596"/>
                  </a:cubicBezTo>
                  <a:cubicBezTo>
                    <a:pt x="158148" y="218172"/>
                    <a:pt x="161737" y="216182"/>
                    <a:pt x="164613" y="213642"/>
                  </a:cubicBezTo>
                  <a:lnTo>
                    <a:pt x="164627" y="213642"/>
                  </a:lnTo>
                  <a:cubicBezTo>
                    <a:pt x="164627" y="213642"/>
                    <a:pt x="164627" y="238869"/>
                    <a:pt x="164627" y="238869"/>
                  </a:cubicBezTo>
                  <a:close/>
                  <a:moveTo>
                    <a:pt x="403079" y="87938"/>
                  </a:moveTo>
                  <a:cubicBezTo>
                    <a:pt x="398442" y="87938"/>
                    <a:pt x="393886" y="88301"/>
                    <a:pt x="389424" y="89067"/>
                  </a:cubicBezTo>
                  <a:cubicBezTo>
                    <a:pt x="385594" y="89672"/>
                    <a:pt x="381844" y="90586"/>
                    <a:pt x="378188" y="91741"/>
                  </a:cubicBezTo>
                  <a:cubicBezTo>
                    <a:pt x="370218" y="94282"/>
                    <a:pt x="362719" y="97870"/>
                    <a:pt x="355690" y="102453"/>
                  </a:cubicBezTo>
                  <a:cubicBezTo>
                    <a:pt x="348674" y="107050"/>
                    <a:pt x="342465" y="112627"/>
                    <a:pt x="337035" y="119119"/>
                  </a:cubicBezTo>
                  <a:cubicBezTo>
                    <a:pt x="331605" y="125637"/>
                    <a:pt x="327304" y="132707"/>
                    <a:pt x="324119" y="140314"/>
                  </a:cubicBezTo>
                  <a:lnTo>
                    <a:pt x="323165" y="140314"/>
                  </a:lnTo>
                  <a:lnTo>
                    <a:pt x="323165" y="87938"/>
                  </a:lnTo>
                  <a:lnTo>
                    <a:pt x="258572" y="87938"/>
                  </a:lnTo>
                  <a:lnTo>
                    <a:pt x="258572" y="334118"/>
                  </a:lnTo>
                  <a:lnTo>
                    <a:pt x="326498" y="334118"/>
                  </a:lnTo>
                  <a:lnTo>
                    <a:pt x="326498" y="229824"/>
                  </a:lnTo>
                  <a:cubicBezTo>
                    <a:pt x="326498" y="218723"/>
                    <a:pt x="327627" y="208401"/>
                    <a:pt x="329871" y="198872"/>
                  </a:cubicBezTo>
                  <a:cubicBezTo>
                    <a:pt x="331121" y="193442"/>
                    <a:pt x="332922" y="188388"/>
                    <a:pt x="335180" y="183725"/>
                  </a:cubicBezTo>
                  <a:cubicBezTo>
                    <a:pt x="336860" y="180217"/>
                    <a:pt x="338849" y="176938"/>
                    <a:pt x="341107" y="173873"/>
                  </a:cubicBezTo>
                  <a:cubicBezTo>
                    <a:pt x="346362" y="166710"/>
                    <a:pt x="353311" y="161092"/>
                    <a:pt x="361926" y="156966"/>
                  </a:cubicBezTo>
                  <a:cubicBezTo>
                    <a:pt x="370527" y="152853"/>
                    <a:pt x="381051" y="150783"/>
                    <a:pt x="393496" y="150783"/>
                  </a:cubicBezTo>
                  <a:cubicBezTo>
                    <a:pt x="397649" y="150783"/>
                    <a:pt x="401950" y="151012"/>
                    <a:pt x="406412" y="151482"/>
                  </a:cubicBezTo>
                  <a:cubicBezTo>
                    <a:pt x="408186" y="151670"/>
                    <a:pt x="409853" y="151872"/>
                    <a:pt x="411412" y="152087"/>
                  </a:cubicBezTo>
                  <a:cubicBezTo>
                    <a:pt x="413804" y="152410"/>
                    <a:pt x="415955" y="152772"/>
                    <a:pt x="417890" y="153149"/>
                  </a:cubicBezTo>
                  <a:lnTo>
                    <a:pt x="417890" y="90303"/>
                  </a:lnTo>
                  <a:cubicBezTo>
                    <a:pt x="412460" y="88717"/>
                    <a:pt x="407514" y="87924"/>
                    <a:pt x="403066" y="87924"/>
                  </a:cubicBezTo>
                  <a:lnTo>
                    <a:pt x="403079" y="87924"/>
                  </a:lnTo>
                  <a:close/>
                  <a:moveTo>
                    <a:pt x="438144" y="334118"/>
                  </a:moveTo>
                  <a:lnTo>
                    <a:pt x="506083" y="334118"/>
                  </a:lnTo>
                  <a:lnTo>
                    <a:pt x="506083" y="87938"/>
                  </a:lnTo>
                  <a:lnTo>
                    <a:pt x="438144" y="87938"/>
                  </a:lnTo>
                  <a:lnTo>
                    <a:pt x="438144" y="334118"/>
                  </a:lnTo>
                  <a:close/>
                  <a:moveTo>
                    <a:pt x="743326" y="226276"/>
                  </a:moveTo>
                  <a:cubicBezTo>
                    <a:pt x="738864" y="218494"/>
                    <a:pt x="732950" y="211989"/>
                    <a:pt x="725626" y="206748"/>
                  </a:cubicBezTo>
                  <a:cubicBezTo>
                    <a:pt x="718274" y="201506"/>
                    <a:pt x="709901" y="197299"/>
                    <a:pt x="700506" y="194141"/>
                  </a:cubicBezTo>
                  <a:cubicBezTo>
                    <a:pt x="691098" y="190969"/>
                    <a:pt x="681462" y="188281"/>
                    <a:pt x="671570" y="186050"/>
                  </a:cubicBezTo>
                  <a:cubicBezTo>
                    <a:pt x="662001" y="183846"/>
                    <a:pt x="652593" y="181776"/>
                    <a:pt x="643346" y="179868"/>
                  </a:cubicBezTo>
                  <a:cubicBezTo>
                    <a:pt x="634086" y="177959"/>
                    <a:pt x="625887" y="175809"/>
                    <a:pt x="618710" y="173443"/>
                  </a:cubicBezTo>
                  <a:cubicBezTo>
                    <a:pt x="611533" y="171051"/>
                    <a:pt x="605714" y="167960"/>
                    <a:pt x="601252" y="164156"/>
                  </a:cubicBezTo>
                  <a:cubicBezTo>
                    <a:pt x="596776" y="160353"/>
                    <a:pt x="594545" y="155434"/>
                    <a:pt x="594545" y="149399"/>
                  </a:cubicBezTo>
                  <a:cubicBezTo>
                    <a:pt x="594545" y="144332"/>
                    <a:pt x="595809" y="140273"/>
                    <a:pt x="598376" y="137263"/>
                  </a:cubicBezTo>
                  <a:cubicBezTo>
                    <a:pt x="600929" y="134266"/>
                    <a:pt x="604047" y="131967"/>
                    <a:pt x="607717" y="130368"/>
                  </a:cubicBezTo>
                  <a:cubicBezTo>
                    <a:pt x="611372" y="128782"/>
                    <a:pt x="615445" y="127747"/>
                    <a:pt x="619920" y="127277"/>
                  </a:cubicBezTo>
                  <a:cubicBezTo>
                    <a:pt x="624396" y="126806"/>
                    <a:pt x="628535" y="126564"/>
                    <a:pt x="632365" y="126564"/>
                  </a:cubicBezTo>
                  <a:cubicBezTo>
                    <a:pt x="644488" y="126564"/>
                    <a:pt x="654998" y="128863"/>
                    <a:pt x="663936" y="133459"/>
                  </a:cubicBezTo>
                  <a:cubicBezTo>
                    <a:pt x="672860" y="138069"/>
                    <a:pt x="677806" y="146872"/>
                    <a:pt x="678760" y="159882"/>
                  </a:cubicBezTo>
                  <a:lnTo>
                    <a:pt x="743353" y="159882"/>
                  </a:lnTo>
                  <a:cubicBezTo>
                    <a:pt x="742076" y="144655"/>
                    <a:pt x="738165" y="132021"/>
                    <a:pt x="731633" y="122022"/>
                  </a:cubicBezTo>
                  <a:cubicBezTo>
                    <a:pt x="725088" y="112009"/>
                    <a:pt x="716876" y="103999"/>
                    <a:pt x="706998" y="97964"/>
                  </a:cubicBezTo>
                  <a:cubicBezTo>
                    <a:pt x="697119" y="91930"/>
                    <a:pt x="685857" y="87656"/>
                    <a:pt x="673263" y="85102"/>
                  </a:cubicBezTo>
                  <a:cubicBezTo>
                    <a:pt x="660643" y="82562"/>
                    <a:pt x="647647" y="81299"/>
                    <a:pt x="634274" y="81299"/>
                  </a:cubicBezTo>
                  <a:cubicBezTo>
                    <a:pt x="620901" y="81299"/>
                    <a:pt x="607797" y="82481"/>
                    <a:pt x="595043" y="84860"/>
                  </a:cubicBezTo>
                  <a:cubicBezTo>
                    <a:pt x="582275" y="87252"/>
                    <a:pt x="570797" y="91379"/>
                    <a:pt x="560596" y="97238"/>
                  </a:cubicBezTo>
                  <a:cubicBezTo>
                    <a:pt x="550381" y="103112"/>
                    <a:pt x="542170" y="111149"/>
                    <a:pt x="535960" y="121296"/>
                  </a:cubicBezTo>
                  <a:cubicBezTo>
                    <a:pt x="529724" y="131457"/>
                    <a:pt x="526620" y="144467"/>
                    <a:pt x="526620" y="160339"/>
                  </a:cubicBezTo>
                  <a:cubicBezTo>
                    <a:pt x="526620" y="171132"/>
                    <a:pt x="528851" y="180271"/>
                    <a:pt x="533326" y="187716"/>
                  </a:cubicBezTo>
                  <a:cubicBezTo>
                    <a:pt x="537788" y="195176"/>
                    <a:pt x="543688" y="201358"/>
                    <a:pt x="551027" y="206291"/>
                  </a:cubicBezTo>
                  <a:cubicBezTo>
                    <a:pt x="558351" y="211210"/>
                    <a:pt x="566738" y="215174"/>
                    <a:pt x="576146" y="218185"/>
                  </a:cubicBezTo>
                  <a:cubicBezTo>
                    <a:pt x="585541" y="221222"/>
                    <a:pt x="595204" y="223816"/>
                    <a:pt x="605082" y="226047"/>
                  </a:cubicBezTo>
                  <a:cubicBezTo>
                    <a:pt x="629315" y="231114"/>
                    <a:pt x="648211" y="236208"/>
                    <a:pt x="661772" y="241275"/>
                  </a:cubicBezTo>
                  <a:cubicBezTo>
                    <a:pt x="675320" y="246342"/>
                    <a:pt x="682107" y="253976"/>
                    <a:pt x="682107" y="264123"/>
                  </a:cubicBezTo>
                  <a:cubicBezTo>
                    <a:pt x="682107" y="270171"/>
                    <a:pt x="680669" y="275171"/>
                    <a:pt x="677793" y="279122"/>
                  </a:cubicBezTo>
                  <a:cubicBezTo>
                    <a:pt x="674943" y="283100"/>
                    <a:pt x="671341" y="286272"/>
                    <a:pt x="667041" y="288637"/>
                  </a:cubicBezTo>
                  <a:cubicBezTo>
                    <a:pt x="662726" y="291016"/>
                    <a:pt x="657955" y="292764"/>
                    <a:pt x="652687" y="293879"/>
                  </a:cubicBezTo>
                  <a:cubicBezTo>
                    <a:pt x="647418" y="295008"/>
                    <a:pt x="642392" y="295559"/>
                    <a:pt x="637607" y="295559"/>
                  </a:cubicBezTo>
                  <a:cubicBezTo>
                    <a:pt x="630914" y="295559"/>
                    <a:pt x="624436" y="294766"/>
                    <a:pt x="618227" y="293180"/>
                  </a:cubicBezTo>
                  <a:cubicBezTo>
                    <a:pt x="612017" y="291581"/>
                    <a:pt x="606520" y="289135"/>
                    <a:pt x="601722" y="285788"/>
                  </a:cubicBezTo>
                  <a:cubicBezTo>
                    <a:pt x="596938" y="282455"/>
                    <a:pt x="593027" y="278168"/>
                    <a:pt x="590003" y="272926"/>
                  </a:cubicBezTo>
                  <a:lnTo>
                    <a:pt x="590029" y="272926"/>
                  </a:lnTo>
                  <a:cubicBezTo>
                    <a:pt x="587005" y="267698"/>
                    <a:pt x="585487" y="261435"/>
                    <a:pt x="585487" y="254124"/>
                  </a:cubicBezTo>
                  <a:lnTo>
                    <a:pt x="520894" y="254124"/>
                  </a:lnTo>
                  <a:cubicBezTo>
                    <a:pt x="521539" y="270641"/>
                    <a:pt x="525289" y="284364"/>
                    <a:pt x="532143" y="295317"/>
                  </a:cubicBezTo>
                  <a:cubicBezTo>
                    <a:pt x="539011" y="306271"/>
                    <a:pt x="547774" y="315074"/>
                    <a:pt x="558459" y="321740"/>
                  </a:cubicBezTo>
                  <a:cubicBezTo>
                    <a:pt x="569144" y="328406"/>
                    <a:pt x="581334" y="333164"/>
                    <a:pt x="595043" y="336027"/>
                  </a:cubicBezTo>
                  <a:cubicBezTo>
                    <a:pt x="608751" y="338876"/>
                    <a:pt x="623119" y="340301"/>
                    <a:pt x="637150" y="340301"/>
                  </a:cubicBezTo>
                  <a:cubicBezTo>
                    <a:pt x="651181" y="340301"/>
                    <a:pt x="664971" y="338943"/>
                    <a:pt x="678532" y="336255"/>
                  </a:cubicBezTo>
                  <a:cubicBezTo>
                    <a:pt x="692079" y="333554"/>
                    <a:pt x="704122" y="328877"/>
                    <a:pt x="714659" y="322211"/>
                  </a:cubicBezTo>
                  <a:cubicBezTo>
                    <a:pt x="725155" y="315544"/>
                    <a:pt x="733703" y="306728"/>
                    <a:pt x="740235" y="295788"/>
                  </a:cubicBezTo>
                  <a:cubicBezTo>
                    <a:pt x="746780" y="284834"/>
                    <a:pt x="750046" y="271260"/>
                    <a:pt x="750046" y="255064"/>
                  </a:cubicBezTo>
                  <a:cubicBezTo>
                    <a:pt x="750046" y="243640"/>
                    <a:pt x="747815" y="234044"/>
                    <a:pt x="743340" y="226262"/>
                  </a:cubicBezTo>
                  <a:close/>
                  <a:moveTo>
                    <a:pt x="492294" y="4207"/>
                  </a:moveTo>
                  <a:cubicBezTo>
                    <a:pt x="486340" y="1398"/>
                    <a:pt x="479324" y="0"/>
                    <a:pt x="472120" y="0"/>
                  </a:cubicBezTo>
                  <a:cubicBezTo>
                    <a:pt x="464917" y="0"/>
                    <a:pt x="458291" y="1398"/>
                    <a:pt x="452175" y="4207"/>
                  </a:cubicBezTo>
                  <a:cubicBezTo>
                    <a:pt x="446087" y="6989"/>
                    <a:pt x="441383" y="10967"/>
                    <a:pt x="438104" y="16101"/>
                  </a:cubicBezTo>
                  <a:cubicBezTo>
                    <a:pt x="434811" y="21235"/>
                    <a:pt x="433171" y="26611"/>
                    <a:pt x="433171" y="33143"/>
                  </a:cubicBezTo>
                  <a:cubicBezTo>
                    <a:pt x="433171" y="39675"/>
                    <a:pt x="434824" y="45508"/>
                    <a:pt x="438104" y="50642"/>
                  </a:cubicBezTo>
                  <a:cubicBezTo>
                    <a:pt x="441383" y="55776"/>
                    <a:pt x="446074" y="59821"/>
                    <a:pt x="452175" y="62778"/>
                  </a:cubicBezTo>
                  <a:cubicBezTo>
                    <a:pt x="458277" y="65735"/>
                    <a:pt x="464607" y="67213"/>
                    <a:pt x="472120" y="67213"/>
                  </a:cubicBezTo>
                  <a:cubicBezTo>
                    <a:pt x="479633" y="67213"/>
                    <a:pt x="486353" y="65735"/>
                    <a:pt x="492294" y="62778"/>
                  </a:cubicBezTo>
                  <a:cubicBezTo>
                    <a:pt x="498234" y="59821"/>
                    <a:pt x="502858" y="55776"/>
                    <a:pt x="506124" y="50642"/>
                  </a:cubicBezTo>
                  <a:cubicBezTo>
                    <a:pt x="509416" y="45508"/>
                    <a:pt x="511056" y="39675"/>
                    <a:pt x="511056" y="33143"/>
                  </a:cubicBezTo>
                  <a:cubicBezTo>
                    <a:pt x="511056" y="26611"/>
                    <a:pt x="509403" y="21235"/>
                    <a:pt x="506124" y="16101"/>
                  </a:cubicBezTo>
                  <a:cubicBezTo>
                    <a:pt x="502844" y="10967"/>
                    <a:pt x="498221" y="7002"/>
                    <a:pt x="492294" y="4207"/>
                  </a:cubicBezTo>
                  <a:close/>
                </a:path>
              </a:pathLst>
            </a:custGeom>
            <a:solidFill>
              <a:schemeClr val="tx1"/>
            </a:solidFill>
            <a:ln w="1334" cap="flat">
              <a:noFill/>
              <a:prstDash val="solid"/>
              <a:miter/>
            </a:ln>
          </p:spPr>
          <p:txBody>
            <a:bodyPr rtlCol="0" anchor="ctr"/>
            <a:lstStyle/>
            <a:p>
              <a:endParaRPr lang="en-US"/>
            </a:p>
          </p:txBody>
        </p:sp>
      </p:grpSp>
      <p:sp>
        <p:nvSpPr>
          <p:cNvPr id="13" name="TextBox 12">
            <a:extLst>
              <a:ext uri="{FF2B5EF4-FFF2-40B4-BE49-F238E27FC236}">
                <a16:creationId xmlns:a16="http://schemas.microsoft.com/office/drawing/2014/main" id="{B814EFF0-B14B-84C4-910D-AE217E69ADBF}"/>
              </a:ext>
            </a:extLst>
          </p:cNvPr>
          <p:cNvSpPr txBox="1"/>
          <p:nvPr userDrawn="1"/>
        </p:nvSpPr>
        <p:spPr>
          <a:xfrm>
            <a:off x="2351881" y="5157117"/>
            <a:ext cx="7488238" cy="792163"/>
          </a:xfrm>
          <a:prstGeom prst="rect">
            <a:avLst/>
          </a:prstGeom>
          <a:noFill/>
        </p:spPr>
        <p:txBody>
          <a:bodyPr wrap="square" lIns="0" tIns="0" rIns="0" bIns="0" rtlCol="0">
            <a:noAutofit/>
          </a:bodyPr>
          <a:lstStyle/>
          <a:p>
            <a:pPr algn="ctr"/>
            <a:r>
              <a:rPr lang="en-US" sz="3600" b="1" dirty="0">
                <a:solidFill>
                  <a:schemeClr val="accent1"/>
                </a:solidFill>
                <a:latin typeface="+mj-lt"/>
              </a:rPr>
              <a:t>Progress starts with Process</a:t>
            </a:r>
          </a:p>
        </p:txBody>
      </p:sp>
      <p:sp>
        <p:nvSpPr>
          <p:cNvPr id="14" name="TextBox 13">
            <a:extLst>
              <a:ext uri="{FF2B5EF4-FFF2-40B4-BE49-F238E27FC236}">
                <a16:creationId xmlns:a16="http://schemas.microsoft.com/office/drawing/2014/main" id="{7A99BA21-0FB4-D46A-6BF7-05594C3B3846}"/>
              </a:ext>
            </a:extLst>
          </p:cNvPr>
          <p:cNvSpPr txBox="1"/>
          <p:nvPr userDrawn="1"/>
        </p:nvSpPr>
        <p:spPr>
          <a:xfrm>
            <a:off x="4295775" y="6093296"/>
            <a:ext cx="3600450" cy="360511"/>
          </a:xfrm>
          <a:prstGeom prst="rect">
            <a:avLst/>
          </a:prstGeom>
          <a:noFill/>
        </p:spPr>
        <p:txBody>
          <a:bodyPr wrap="square" lIns="0" tIns="0" rIns="0" bIns="0" rtlCol="0" anchor="b">
            <a:noAutofit/>
          </a:bodyPr>
          <a:lstStyle/>
          <a:p>
            <a:pPr algn="ctr"/>
            <a:r>
              <a:rPr lang="en-US" sz="1600" b="0" dirty="0">
                <a:solidFill>
                  <a:schemeClr val="tx1"/>
                </a:solidFill>
                <a:latin typeface="+mj-lt"/>
              </a:rPr>
              <a:t>ARIS.COM</a:t>
            </a:r>
          </a:p>
        </p:txBody>
      </p:sp>
      <p:sp>
        <p:nvSpPr>
          <p:cNvPr id="2" name="Rectangle 1">
            <a:extLst>
              <a:ext uri="{FF2B5EF4-FFF2-40B4-BE49-F238E27FC236}">
                <a16:creationId xmlns:a16="http://schemas.microsoft.com/office/drawing/2014/main" id="{9FD3691F-F4A8-39DA-CB20-5B23DA240A83}"/>
              </a:ext>
            </a:extLst>
          </p:cNvPr>
          <p:cNvSpPr/>
          <p:nvPr userDrawn="1"/>
        </p:nvSpPr>
        <p:spPr>
          <a:xfrm>
            <a:off x="11208568" y="5877272"/>
            <a:ext cx="648072" cy="72037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background with a black square&#10;&#10;AI-generated content may be incorrect.">
            <a:extLst>
              <a:ext uri="{FF2B5EF4-FFF2-40B4-BE49-F238E27FC236}">
                <a16:creationId xmlns:a16="http://schemas.microsoft.com/office/drawing/2014/main" id="{489000C7-D33F-5CDF-BAAD-48FD29C558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87488" y="1"/>
            <a:ext cx="9217025" cy="2878821"/>
          </a:xfrm>
          <a:prstGeom prst="rect">
            <a:avLst/>
          </a:prstGeom>
        </p:spPr>
      </p:pic>
      <p:sp>
        <p:nvSpPr>
          <p:cNvPr id="3" name="Flight Mode" hidden="1">
            <a:extLst>
              <a:ext uri="{FF2B5EF4-FFF2-40B4-BE49-F238E27FC236}">
                <a16:creationId xmlns:a16="http://schemas.microsoft.com/office/drawing/2014/main" id="{7FC3BC42-8BBB-A0E3-159A-2C9AF1BABDFE}"/>
              </a:ext>
            </a:extLst>
          </p:cNvPr>
          <p:cNvSpPr/>
          <p:nvPr userDrawn="1">
            <p:custDataLst>
              <p:tags r:id="rId1"/>
            </p:custDataLst>
          </p:nvPr>
        </p:nvSpPr>
        <p:spPr>
          <a:xfrm>
            <a:off x="4116782" y="3066431"/>
            <a:ext cx="3923905" cy="1657969"/>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5" name="MIO_Placeholder_Mapping" hidden="1">
            <a:extLst>
              <a:ext uri="{FF2B5EF4-FFF2-40B4-BE49-F238E27FC236}">
                <a16:creationId xmlns:a16="http://schemas.microsoft.com/office/drawing/2014/main" id="{EBEA04CA-4A47-A797-3945-A97D2C940E7D}"/>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IO_AGENDA_LAST_SLIDE" hidden="1">
            <a:extLst>
              <a:ext uri="{FF2B5EF4-FFF2-40B4-BE49-F238E27FC236}">
                <a16:creationId xmlns:a16="http://schemas.microsoft.com/office/drawing/2014/main" id="{A74D488B-60FA-346E-7387-A10C5FB3D8EC}"/>
              </a:ext>
            </a:extLst>
          </p:cNvPr>
          <p:cNvSpPr/>
          <p:nvPr userDrawn="1"/>
        </p:nvSpPr>
        <p:spPr>
          <a:xfrm>
            <a:off x="11208568" y="189000"/>
            <a:ext cx="648072" cy="576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403367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B57D85EC-9792-B92C-140C-F9FC536EBACB}"/>
              </a:ext>
            </a:extLst>
          </p:cNvPr>
          <p:cNvSpPr>
            <a:spLocks noGrp="1"/>
          </p:cNvSpPr>
          <p:nvPr>
            <p:ph type="ftr" sz="quarter" idx="13"/>
          </p:nvPr>
        </p:nvSpPr>
        <p:spPr/>
        <p:txBody>
          <a:bodyPr/>
          <a:lstStyle>
            <a:lvl1pPr>
              <a:defRPr b="0"/>
            </a:lvl1pPr>
          </a:lstStyle>
          <a:p>
            <a:r>
              <a:rPr lang="en-US"/>
              <a:t>© SAG ARIS GmbH. All rights reserved.</a:t>
            </a:r>
            <a:endParaRPr lang="en-US" b="0" dirty="0"/>
          </a:p>
        </p:txBody>
      </p:sp>
      <p:sp>
        <p:nvSpPr>
          <p:cNvPr id="7" name="Slide Number Placeholder 6">
            <a:extLst>
              <a:ext uri="{FF2B5EF4-FFF2-40B4-BE49-F238E27FC236}">
                <a16:creationId xmlns:a16="http://schemas.microsoft.com/office/drawing/2014/main" id="{DEF36D2D-E281-B280-F069-7D8E3A211207}"/>
              </a:ext>
            </a:extLst>
          </p:cNvPr>
          <p:cNvSpPr>
            <a:spLocks noGrp="1"/>
          </p:cNvSpPr>
          <p:nvPr>
            <p:ph type="sldNum" sz="quarter" idx="14"/>
          </p:nvPr>
        </p:nvSpPr>
        <p:spPr/>
        <p:txBody>
          <a:bodyPr/>
          <a:lstStyle/>
          <a:p>
            <a:fld id="{59C7FD53-A61A-46D7-B725-1FF4E056D6EF}" type="slidenum">
              <a:rPr lang="en-US"/>
              <a:pPr/>
              <a:t>‹#›</a:t>
            </a:fld>
            <a:endParaRPr lang="en-US" dirty="0"/>
          </a:p>
        </p:txBody>
      </p:sp>
      <p:sp>
        <p:nvSpPr>
          <p:cNvPr id="3" name="Subtitle 1">
            <a:extLst>
              <a:ext uri="{FF2B5EF4-FFF2-40B4-BE49-F238E27FC236}">
                <a16:creationId xmlns:a16="http://schemas.microsoft.com/office/drawing/2014/main" id="{7C62C148-15C8-6F33-36E7-B562BA437F30}"/>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0"/>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B24CA0D4-EC4F-FECD-2A56-6776537F07A1}"/>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8" name="MIO_Placeholder_Mapping" hidden="1">
            <a:extLst>
              <a:ext uri="{FF2B5EF4-FFF2-40B4-BE49-F238E27FC236}">
                <a16:creationId xmlns:a16="http://schemas.microsoft.com/office/drawing/2014/main" id="{902278B9-E31E-DD10-2F91-458B128B3012}"/>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0DC43086-1127-85CC-B285-08BB5412CA64}"/>
              </a:ext>
            </a:extLst>
          </p:cNvPr>
          <p:cNvSpPr>
            <a:spLocks noGrp="1"/>
          </p:cNvSpPr>
          <p:nvPr>
            <p:ph sz="quarter" idx="15"/>
          </p:nvPr>
        </p:nvSpPr>
        <p:spPr>
          <a:xfrm>
            <a:off x="551384" y="1196976"/>
            <a:ext cx="11088001" cy="489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557976"/>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entered Text&#10;6 Contents">
  <p:cSld name="*Centered Text&#10;6 Content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8"/>
          </p:nvPr>
        </p:nvSpPr>
        <p:spPr/>
        <p:txBody>
          <a:bodyPr anchor="t"/>
          <a:lstStyle>
            <a:lvl1pPr>
              <a:defRPr baseline="0">
                <a:latin typeface="+mn-lt"/>
                <a:cs typeface="+mn-cs"/>
              </a:defRPr>
            </a:lvl1pPr>
          </a:lstStyle>
          <a:p>
            <a:fld id="{FCA15689-CD58-42FF-B27B-F9F984A2AA6C}" type="datetime1">
              <a:rPr lang="en-US" smtClean="0"/>
              <a:pPr/>
              <a:t>2/9/2026</a:t>
            </a:fld>
            <a:endParaRPr lang="en-US"/>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9"/>
          </p:nvPr>
        </p:nvSpPr>
        <p:spPr/>
        <p:txBody>
          <a:bodyPr/>
          <a:lstStyle>
            <a:lvl1pPr>
              <a:defRPr baseline="0">
                <a:latin typeface="+mn-lt"/>
                <a:cs typeface="+mn-cs"/>
              </a:defRPr>
            </a:lvl1pPr>
          </a:lstStyle>
          <a:p>
            <a:r>
              <a:rPr lang="en-US"/>
              <a:t>© 2025 SAG ARIS GmbH. All rights reserved.</a:t>
            </a:r>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10"/>
          </p:nvPr>
        </p:nvSpPr>
        <p:spPr/>
        <p:txBody>
          <a:bodyPr/>
          <a:lstStyle>
            <a:lvl1pPr>
              <a:defRPr baseline="0">
                <a:latin typeface="+mn-lt"/>
                <a:cs typeface="+mn-cs"/>
              </a:defRPr>
            </a:lvl1pPr>
          </a:lstStyle>
          <a:p>
            <a:fld id="{22FF84AA-2C76-4AF1-8502-73D25D47F37C}" type="slidenum">
              <a:rPr lang="en-US"/>
              <a:pPr/>
              <a:t>‹#›</a:t>
            </a:fld>
            <a:endParaRPr lang="en-US"/>
          </a:p>
        </p:txBody>
      </p:sp>
      <p:sp>
        <p:nvSpPr>
          <p:cNvPr id="40" name="Content Placeholder 21">
            <a:extLst>
              <a:ext uri="{FF2B5EF4-FFF2-40B4-BE49-F238E27FC236}">
                <a16:creationId xmlns:a16="http://schemas.microsoft.com/office/drawing/2014/main" id="{00A2D799-234B-42C8-8893-DB2DB990417F}"/>
              </a:ext>
            </a:extLst>
          </p:cNvPr>
          <p:cNvSpPr>
            <a:spLocks noGrp="1"/>
          </p:cNvSpPr>
          <p:nvPr>
            <p:ph sz="quarter" idx="21"/>
          </p:nvPr>
        </p:nvSpPr>
        <p:spPr>
          <a:xfrm>
            <a:off x="361199" y="1387800"/>
            <a:ext cx="5637964" cy="1425621"/>
          </a:xfrm>
          <a:custGeom>
            <a:avLst/>
            <a:gdLst>
              <a:gd name="connsiteX0" fmla="*/ 0 w 5637964"/>
              <a:gd name="connsiteY0" fmla="*/ 0 h 1425621"/>
              <a:gd name="connsiteX1" fmla="*/ 5637964 w 5637964"/>
              <a:gd name="connsiteY1" fmla="*/ 0 h 1425621"/>
              <a:gd name="connsiteX2" fmla="*/ 5637964 w 5637964"/>
              <a:gd name="connsiteY2" fmla="*/ 1264324 h 1425621"/>
              <a:gd name="connsiteX3" fmla="*/ 4665601 w 5637964"/>
              <a:gd name="connsiteY3" fmla="*/ 1264324 h 1425621"/>
              <a:gd name="connsiteX4" fmla="*/ 4665601 w 5637964"/>
              <a:gd name="connsiteY4" fmla="*/ 1425621 h 1425621"/>
              <a:gd name="connsiteX5" fmla="*/ 0 w 5637964"/>
              <a:gd name="connsiteY5" fmla="*/ 1425621 h 142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7964" h="1425621">
                <a:moveTo>
                  <a:pt x="0" y="0"/>
                </a:moveTo>
                <a:lnTo>
                  <a:pt x="5637964" y="0"/>
                </a:lnTo>
                <a:lnTo>
                  <a:pt x="5637964" y="1264324"/>
                </a:lnTo>
                <a:lnTo>
                  <a:pt x="4665601" y="1264324"/>
                </a:lnTo>
                <a:lnTo>
                  <a:pt x="4665601" y="1425621"/>
                </a:lnTo>
                <a:lnTo>
                  <a:pt x="0" y="1425621"/>
                </a:lnTo>
                <a:close/>
              </a:path>
            </a:pathLst>
          </a:custGeom>
          <a:solidFill>
            <a:schemeClr val="bg2"/>
          </a:solidFill>
        </p:spPr>
        <p:txBody>
          <a:bodyPr wrap="square" lIns="97200" tIns="97200" rIns="1069200" bIns="97200">
            <a:noAutofit/>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42" name="Content Placeholder 22">
            <a:extLst>
              <a:ext uri="{FF2B5EF4-FFF2-40B4-BE49-F238E27FC236}">
                <a16:creationId xmlns:a16="http://schemas.microsoft.com/office/drawing/2014/main" id="{A913A8B0-C557-458D-B5D1-8E662903A9AA}"/>
              </a:ext>
            </a:extLst>
          </p:cNvPr>
          <p:cNvSpPr>
            <a:spLocks noGrp="1"/>
          </p:cNvSpPr>
          <p:nvPr>
            <p:ph sz="quarter" idx="22"/>
          </p:nvPr>
        </p:nvSpPr>
        <p:spPr>
          <a:xfrm>
            <a:off x="6192838" y="1387800"/>
            <a:ext cx="5637964" cy="1425621"/>
          </a:xfrm>
          <a:custGeom>
            <a:avLst/>
            <a:gdLst>
              <a:gd name="connsiteX0" fmla="*/ 0 w 5637964"/>
              <a:gd name="connsiteY0" fmla="*/ 0 h 1425621"/>
              <a:gd name="connsiteX1" fmla="*/ 5637964 w 5637964"/>
              <a:gd name="connsiteY1" fmla="*/ 0 h 1425621"/>
              <a:gd name="connsiteX2" fmla="*/ 5637964 w 5637964"/>
              <a:gd name="connsiteY2" fmla="*/ 1425621 h 1425621"/>
              <a:gd name="connsiteX3" fmla="*/ 973912 w 5637964"/>
              <a:gd name="connsiteY3" fmla="*/ 1425621 h 1425621"/>
              <a:gd name="connsiteX4" fmla="*/ 973912 w 5637964"/>
              <a:gd name="connsiteY4" fmla="*/ 1264324 h 1425621"/>
              <a:gd name="connsiteX5" fmla="*/ 0 w 5637964"/>
              <a:gd name="connsiteY5" fmla="*/ 1264324 h 142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7964" h="1425621">
                <a:moveTo>
                  <a:pt x="0" y="0"/>
                </a:moveTo>
                <a:lnTo>
                  <a:pt x="5637964" y="0"/>
                </a:lnTo>
                <a:lnTo>
                  <a:pt x="5637964" y="1425621"/>
                </a:lnTo>
                <a:lnTo>
                  <a:pt x="973912" y="1425621"/>
                </a:lnTo>
                <a:lnTo>
                  <a:pt x="973912" y="1264324"/>
                </a:lnTo>
                <a:lnTo>
                  <a:pt x="0" y="1264324"/>
                </a:lnTo>
                <a:close/>
              </a:path>
            </a:pathLst>
          </a:custGeom>
          <a:solidFill>
            <a:schemeClr val="bg2"/>
          </a:solidFill>
        </p:spPr>
        <p:txBody>
          <a:bodyPr wrap="square" lIns="1069200" tIns="97200" rIns="97200" bIns="97200">
            <a:noAutofit/>
          </a:bodyPr>
          <a:lstStyle>
            <a:lvl1pPr algn="r">
              <a:defRPr baseline="0">
                <a:latin typeface="+mn-lt"/>
                <a:cs typeface="+mn-cs"/>
              </a:defRPr>
            </a:lvl1pPr>
            <a:lvl2pPr algn="r">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34" name="Content Placeholder 23">
            <a:extLst>
              <a:ext uri="{FF2B5EF4-FFF2-40B4-BE49-F238E27FC236}">
                <a16:creationId xmlns:a16="http://schemas.microsoft.com/office/drawing/2014/main" id="{92364BBC-B0E2-4CA2-8388-094221630E86}"/>
              </a:ext>
            </a:extLst>
          </p:cNvPr>
          <p:cNvSpPr>
            <a:spLocks noGrp="1"/>
          </p:cNvSpPr>
          <p:nvPr>
            <p:ph sz="quarter" idx="23"/>
          </p:nvPr>
        </p:nvSpPr>
        <p:spPr>
          <a:xfrm>
            <a:off x="361200" y="3007820"/>
            <a:ext cx="4665601" cy="1425621"/>
          </a:xfrm>
          <a:custGeom>
            <a:avLst/>
            <a:gdLst>
              <a:gd name="connsiteX0" fmla="*/ 0 w 4665601"/>
              <a:gd name="connsiteY0" fmla="*/ 0 h 1425621"/>
              <a:gd name="connsiteX1" fmla="*/ 4665601 w 4665601"/>
              <a:gd name="connsiteY1" fmla="*/ 0 h 1425621"/>
              <a:gd name="connsiteX2" fmla="*/ 4665601 w 4665601"/>
              <a:gd name="connsiteY2" fmla="*/ 1425621 h 1425621"/>
              <a:gd name="connsiteX3" fmla="*/ 0 w 4665601"/>
              <a:gd name="connsiteY3" fmla="*/ 1425621 h 1425621"/>
            </a:gdLst>
            <a:ahLst/>
            <a:cxnLst>
              <a:cxn ang="0">
                <a:pos x="connsiteX0" y="connsiteY0"/>
              </a:cxn>
              <a:cxn ang="0">
                <a:pos x="connsiteX1" y="connsiteY1"/>
              </a:cxn>
              <a:cxn ang="0">
                <a:pos x="connsiteX2" y="connsiteY2"/>
              </a:cxn>
              <a:cxn ang="0">
                <a:pos x="connsiteX3" y="connsiteY3"/>
              </a:cxn>
            </a:cxnLst>
            <a:rect l="l" t="t" r="r" b="b"/>
            <a:pathLst>
              <a:path w="4665601" h="1425621">
                <a:moveTo>
                  <a:pt x="0" y="0"/>
                </a:moveTo>
                <a:lnTo>
                  <a:pt x="4665601" y="0"/>
                </a:lnTo>
                <a:lnTo>
                  <a:pt x="4665601" y="1425621"/>
                </a:lnTo>
                <a:lnTo>
                  <a:pt x="0" y="1425621"/>
                </a:lnTo>
                <a:close/>
              </a:path>
            </a:pathLst>
          </a:custGeom>
          <a:solidFill>
            <a:schemeClr val="bg2"/>
          </a:solidFill>
        </p:spPr>
        <p:txBody>
          <a:bodyPr wrap="square" lIns="97200" tIns="97200" rIns="1069200" bIns="97200">
            <a:noAutofit/>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45" name="Content Placeholder 24">
            <a:extLst>
              <a:ext uri="{FF2B5EF4-FFF2-40B4-BE49-F238E27FC236}">
                <a16:creationId xmlns:a16="http://schemas.microsoft.com/office/drawing/2014/main" id="{77917BCD-77B6-4CBA-BAA9-85A4A1924A5F}"/>
              </a:ext>
            </a:extLst>
          </p:cNvPr>
          <p:cNvSpPr>
            <a:spLocks noGrp="1"/>
          </p:cNvSpPr>
          <p:nvPr>
            <p:ph sz="quarter" idx="24"/>
          </p:nvPr>
        </p:nvSpPr>
        <p:spPr>
          <a:xfrm>
            <a:off x="7166750" y="3007820"/>
            <a:ext cx="4664052" cy="1425621"/>
          </a:xfrm>
          <a:custGeom>
            <a:avLst/>
            <a:gdLst>
              <a:gd name="connsiteX0" fmla="*/ 0 w 4664052"/>
              <a:gd name="connsiteY0" fmla="*/ 0 h 1425621"/>
              <a:gd name="connsiteX1" fmla="*/ 4664052 w 4664052"/>
              <a:gd name="connsiteY1" fmla="*/ 0 h 1425621"/>
              <a:gd name="connsiteX2" fmla="*/ 4664052 w 4664052"/>
              <a:gd name="connsiteY2" fmla="*/ 1425621 h 1425621"/>
              <a:gd name="connsiteX3" fmla="*/ 0 w 4664052"/>
              <a:gd name="connsiteY3" fmla="*/ 1425621 h 1425621"/>
            </a:gdLst>
            <a:ahLst/>
            <a:cxnLst>
              <a:cxn ang="0">
                <a:pos x="connsiteX0" y="connsiteY0"/>
              </a:cxn>
              <a:cxn ang="0">
                <a:pos x="connsiteX1" y="connsiteY1"/>
              </a:cxn>
              <a:cxn ang="0">
                <a:pos x="connsiteX2" y="connsiteY2"/>
              </a:cxn>
              <a:cxn ang="0">
                <a:pos x="connsiteX3" y="connsiteY3"/>
              </a:cxn>
            </a:cxnLst>
            <a:rect l="l" t="t" r="r" b="b"/>
            <a:pathLst>
              <a:path w="4664052" h="1425621">
                <a:moveTo>
                  <a:pt x="0" y="0"/>
                </a:moveTo>
                <a:lnTo>
                  <a:pt x="4664052" y="0"/>
                </a:lnTo>
                <a:lnTo>
                  <a:pt x="4664052" y="1425621"/>
                </a:lnTo>
                <a:lnTo>
                  <a:pt x="0" y="1425621"/>
                </a:lnTo>
                <a:close/>
              </a:path>
            </a:pathLst>
          </a:custGeom>
          <a:solidFill>
            <a:schemeClr val="bg2"/>
          </a:solidFill>
        </p:spPr>
        <p:txBody>
          <a:bodyPr wrap="square" lIns="1069200" tIns="97200" rIns="97200" bIns="97200">
            <a:noAutofit/>
          </a:bodyPr>
          <a:lstStyle>
            <a:lvl1pPr algn="r">
              <a:defRPr baseline="0">
                <a:latin typeface="+mn-lt"/>
                <a:cs typeface="+mn-cs"/>
              </a:defRPr>
            </a:lvl1pPr>
            <a:lvl2pPr algn="r">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38" name="Content Placeholder 25">
            <a:extLst>
              <a:ext uri="{FF2B5EF4-FFF2-40B4-BE49-F238E27FC236}">
                <a16:creationId xmlns:a16="http://schemas.microsoft.com/office/drawing/2014/main" id="{91648BB4-F608-4CAD-AC1E-3CBEC506B2D2}"/>
              </a:ext>
            </a:extLst>
          </p:cNvPr>
          <p:cNvSpPr>
            <a:spLocks noGrp="1"/>
          </p:cNvSpPr>
          <p:nvPr>
            <p:ph sz="quarter" idx="25"/>
          </p:nvPr>
        </p:nvSpPr>
        <p:spPr>
          <a:xfrm>
            <a:off x="361199" y="4627841"/>
            <a:ext cx="5637964" cy="1425621"/>
          </a:xfrm>
          <a:custGeom>
            <a:avLst/>
            <a:gdLst>
              <a:gd name="connsiteX0" fmla="*/ 0 w 5637964"/>
              <a:gd name="connsiteY0" fmla="*/ 0 h 1425621"/>
              <a:gd name="connsiteX1" fmla="*/ 4665601 w 5637964"/>
              <a:gd name="connsiteY1" fmla="*/ 0 h 1425621"/>
              <a:gd name="connsiteX2" fmla="*/ 4665601 w 5637964"/>
              <a:gd name="connsiteY2" fmla="*/ 162646 h 1425621"/>
              <a:gd name="connsiteX3" fmla="*/ 5637964 w 5637964"/>
              <a:gd name="connsiteY3" fmla="*/ 162646 h 1425621"/>
              <a:gd name="connsiteX4" fmla="*/ 5637964 w 5637964"/>
              <a:gd name="connsiteY4" fmla="*/ 1425621 h 1425621"/>
              <a:gd name="connsiteX5" fmla="*/ 0 w 5637964"/>
              <a:gd name="connsiteY5" fmla="*/ 1425621 h 142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7964" h="1425621">
                <a:moveTo>
                  <a:pt x="0" y="0"/>
                </a:moveTo>
                <a:lnTo>
                  <a:pt x="4665601" y="0"/>
                </a:lnTo>
                <a:lnTo>
                  <a:pt x="4665601" y="162646"/>
                </a:lnTo>
                <a:lnTo>
                  <a:pt x="5637964" y="162646"/>
                </a:lnTo>
                <a:lnTo>
                  <a:pt x="5637964" y="1425621"/>
                </a:lnTo>
                <a:lnTo>
                  <a:pt x="0" y="1425621"/>
                </a:lnTo>
                <a:close/>
              </a:path>
            </a:pathLst>
          </a:custGeom>
          <a:solidFill>
            <a:schemeClr val="bg2"/>
          </a:solidFill>
        </p:spPr>
        <p:txBody>
          <a:bodyPr wrap="square" lIns="97200" tIns="97200" rIns="1069200" bIns="97200">
            <a:noAutofit/>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47" name="Content Placeholder 26">
            <a:extLst>
              <a:ext uri="{FF2B5EF4-FFF2-40B4-BE49-F238E27FC236}">
                <a16:creationId xmlns:a16="http://schemas.microsoft.com/office/drawing/2014/main" id="{DF77E0E3-C80A-4A7B-A051-B260A2CA502A}"/>
              </a:ext>
            </a:extLst>
          </p:cNvPr>
          <p:cNvSpPr>
            <a:spLocks noGrp="1"/>
          </p:cNvSpPr>
          <p:nvPr>
            <p:ph sz="quarter" idx="26"/>
          </p:nvPr>
        </p:nvSpPr>
        <p:spPr>
          <a:xfrm>
            <a:off x="6192838" y="4627841"/>
            <a:ext cx="5637964" cy="1425621"/>
          </a:xfrm>
          <a:custGeom>
            <a:avLst/>
            <a:gdLst>
              <a:gd name="connsiteX0" fmla="*/ 973912 w 5637964"/>
              <a:gd name="connsiteY0" fmla="*/ 0 h 1425621"/>
              <a:gd name="connsiteX1" fmla="*/ 5637964 w 5637964"/>
              <a:gd name="connsiteY1" fmla="*/ 0 h 1425621"/>
              <a:gd name="connsiteX2" fmla="*/ 5637964 w 5637964"/>
              <a:gd name="connsiteY2" fmla="*/ 1425621 h 1425621"/>
              <a:gd name="connsiteX3" fmla="*/ 0 w 5637964"/>
              <a:gd name="connsiteY3" fmla="*/ 1425621 h 1425621"/>
              <a:gd name="connsiteX4" fmla="*/ 0 w 5637964"/>
              <a:gd name="connsiteY4" fmla="*/ 162646 h 1425621"/>
              <a:gd name="connsiteX5" fmla="*/ 973912 w 5637964"/>
              <a:gd name="connsiteY5" fmla="*/ 162646 h 142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7964" h="1425621">
                <a:moveTo>
                  <a:pt x="973912" y="0"/>
                </a:moveTo>
                <a:lnTo>
                  <a:pt x="5637964" y="0"/>
                </a:lnTo>
                <a:lnTo>
                  <a:pt x="5637964" y="1425621"/>
                </a:lnTo>
                <a:lnTo>
                  <a:pt x="0" y="1425621"/>
                </a:lnTo>
                <a:lnTo>
                  <a:pt x="0" y="162646"/>
                </a:lnTo>
                <a:lnTo>
                  <a:pt x="973912" y="162646"/>
                </a:lnTo>
                <a:close/>
              </a:path>
            </a:pathLst>
          </a:custGeom>
          <a:solidFill>
            <a:schemeClr val="bg2"/>
          </a:solidFill>
        </p:spPr>
        <p:txBody>
          <a:bodyPr wrap="square" lIns="1069200" tIns="97200" rIns="97200" bIns="97200">
            <a:noAutofit/>
          </a:bodyPr>
          <a:lstStyle>
            <a:lvl1pPr algn="r">
              <a:defRPr baseline="0">
                <a:latin typeface="+mn-lt"/>
                <a:cs typeface="+mn-cs"/>
              </a:defRPr>
            </a:lvl1pPr>
            <a:lvl2pPr algn="r">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5221288" y="2846487"/>
            <a:ext cx="1749425" cy="1749600"/>
          </a:xfrm>
          <a:solidFill>
            <a:schemeClr val="accent1"/>
          </a:solidFill>
          <a:effectLst/>
        </p:spPr>
        <p:txBody>
          <a:bodyPr lIns="97200" tIns="97200" rIns="97200" bIns="97200" anchor="ctr"/>
          <a:lstStyle>
            <a:lvl1pPr algn="ctr">
              <a:defRPr b="1" baseline="0">
                <a:solidFill>
                  <a:schemeClr val="bg1"/>
                </a:solidFill>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Tree>
    <p:extLst>
      <p:ext uri="{BB962C8B-B14F-4D97-AF65-F5344CB8AC3E}">
        <p14:creationId xmlns:p14="http://schemas.microsoft.com/office/powerpoint/2010/main" val="2822075338"/>
      </p:ext>
    </p:extLst>
  </p:cSld>
  <p:clrMapOvr>
    <a:masterClrMapping/>
  </p:clrMapOvr>
  <p:hf hdr="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hasCustomPrompt="1"/>
          </p:nvPr>
        </p:nvSpPr>
        <p:spPr/>
        <p:txBody>
          <a:bodyPr/>
          <a:lstStyle/>
          <a:p>
            <a:r>
              <a:rPr lang="en-US"/>
              <a:t>Click to edit Master tit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hasCustomPrompt="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Segoe UI" panose="020B0502040204020203" pitchFamily="34" charset="0"/>
                <a:cs typeface="Segoe UI" panose="020B0502040204020203" pitchFamily="34" charset="0"/>
              </a:defRPr>
            </a:lvl1pPr>
          </a:lstStyle>
          <a:p>
            <a:pPr lvl="0"/>
            <a:r>
              <a:rPr lang="en-US"/>
              <a:t>Click to add subtitle</a:t>
            </a:r>
          </a:p>
        </p:txBody>
      </p:sp>
      <p:sp>
        <p:nvSpPr>
          <p:cNvPr id="8" name="Layout Support" hidden="1">
            <a:extLst>
              <a:ext uri="{FF2B5EF4-FFF2-40B4-BE49-F238E27FC236}">
                <a16:creationId xmlns:a16="http://schemas.microsoft.com/office/drawing/2014/main" id="{22E761EC-ECDC-42A7-9C97-2EFC64ABD25D}"/>
              </a:ext>
            </a:extLst>
          </p:cNvPr>
          <p:cNvSpPr txBox="1">
            <a:spLocks/>
          </p:cNvSpPr>
          <p:nvPr>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a:solidFill>
                  <a:schemeClr val="bg1">
                    <a:lumMod val="50000"/>
                  </a:schemeClr>
                </a:solidFill>
              </a:rPr>
              <a:t>S11000</a:t>
            </a:r>
          </a:p>
        </p:txBody>
      </p:sp>
      <p:sp>
        <p:nvSpPr>
          <p:cNvPr id="3" name="Date Placeholder 2">
            <a:extLst>
              <a:ext uri="{FF2B5EF4-FFF2-40B4-BE49-F238E27FC236}">
                <a16:creationId xmlns:a16="http://schemas.microsoft.com/office/drawing/2014/main" id="{FD44F9ED-7F6E-0AEE-6787-36634DD2D42E}"/>
              </a:ext>
            </a:extLst>
          </p:cNvPr>
          <p:cNvSpPr>
            <a:spLocks noGrp="1"/>
          </p:cNvSpPr>
          <p:nvPr>
            <p:ph type="dt" sz="half" idx="10"/>
          </p:nvPr>
        </p:nvSpPr>
        <p:spPr/>
        <p:txBody>
          <a:bodyPr/>
          <a:lstStyle/>
          <a:p>
            <a:fld id="{9DD29FC4-6C5D-4FDE-93FA-BE4B0C7FD163}" type="datetime1">
              <a:rPr lang="en-US" smtClean="0"/>
              <a:t>2/9/2026</a:t>
            </a:fld>
            <a:endParaRPr lang="en-US"/>
          </a:p>
        </p:txBody>
      </p:sp>
      <p:sp>
        <p:nvSpPr>
          <p:cNvPr id="4" name="Footer Placeholder 3">
            <a:extLst>
              <a:ext uri="{FF2B5EF4-FFF2-40B4-BE49-F238E27FC236}">
                <a16:creationId xmlns:a16="http://schemas.microsoft.com/office/drawing/2014/main" id="{EE621DE9-9C32-A548-8E07-42F393820BBB}"/>
              </a:ext>
            </a:extLst>
          </p:cNvPr>
          <p:cNvSpPr>
            <a:spLocks noGrp="1"/>
          </p:cNvSpPr>
          <p:nvPr>
            <p:ph type="ftr" sz="quarter" idx="11"/>
          </p:nvPr>
        </p:nvSpPr>
        <p:spPr/>
        <p:txBody>
          <a:bodyPr/>
          <a:lstStyle/>
          <a:p>
            <a:r>
              <a:rPr lang="en-US"/>
              <a:t>© 2025 SAG ARIS GmbH. All rights reserved.</a:t>
            </a:r>
          </a:p>
        </p:txBody>
      </p:sp>
      <p:sp>
        <p:nvSpPr>
          <p:cNvPr id="5" name="Slide Number Placeholder 4">
            <a:extLst>
              <a:ext uri="{FF2B5EF4-FFF2-40B4-BE49-F238E27FC236}">
                <a16:creationId xmlns:a16="http://schemas.microsoft.com/office/drawing/2014/main" id="{425887EE-D049-519C-A321-F0C60DFCFC84}"/>
              </a:ext>
            </a:extLst>
          </p:cNvPr>
          <p:cNvSpPr>
            <a:spLocks noGrp="1"/>
          </p:cNvSpPr>
          <p:nvPr>
            <p:ph type="sldNum" sz="quarter" idx="12"/>
          </p:nvPr>
        </p:nvSpPr>
        <p:spPr/>
        <p:txBody>
          <a:bodyPr/>
          <a:lstStyle/>
          <a:p>
            <a:fld id="{22FF84AA-2C76-4AF1-8502-73D25D47F37C}" type="slidenum">
              <a:rPr lang="en-US" noProof="0" smtClean="0"/>
              <a:pPr/>
              <a:t>‹#›</a:t>
            </a:fld>
            <a:endParaRPr lang="en-US" noProof="0"/>
          </a:p>
        </p:txBody>
      </p:sp>
      <p:sp>
        <p:nvSpPr>
          <p:cNvPr id="7" name="MIO_Placeholder_Mapping" hidden="1">
            <a:extLst>
              <a:ext uri="{FF2B5EF4-FFF2-40B4-BE49-F238E27FC236}">
                <a16:creationId xmlns:a16="http://schemas.microsoft.com/office/drawing/2014/main" id="{6642B08C-EBB8-CA04-2024-C497860CD315}"/>
              </a:ext>
            </a:extLst>
          </p:cNvPr>
          <p:cNvSpPr/>
          <p:nvPr>
            <p:custDataLst>
              <p:tags r:id="rId2"/>
            </p:custDataLst>
          </p:nvPr>
        </p:nvSpPr>
        <p:spPr>
          <a:xfrm>
            <a:off x="0" y="0"/>
            <a:ext cx="0" cy="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
        <p:nvSpPr>
          <p:cNvPr id="9" name="Flight Mode" hidden="1">
            <a:extLst>
              <a:ext uri="{FF2B5EF4-FFF2-40B4-BE49-F238E27FC236}">
                <a16:creationId xmlns:a16="http://schemas.microsoft.com/office/drawing/2014/main" id="{61E3830D-6A83-D303-F13C-26ABDEEDD086}"/>
              </a:ext>
            </a:extLst>
          </p:cNvPr>
          <p:cNvSpPr>
            <a:spLocks/>
          </p:cNvSpPr>
          <p:nvPr>
            <p:custDataLst>
              <p:tags r:id="rId3"/>
            </p:custDataLst>
          </p:nvPr>
        </p:nvSpPr>
        <p:spPr>
          <a:xfrm>
            <a:off x="10056814" y="6056313"/>
            <a:ext cx="1981200" cy="696098"/>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de-DE">
              <a:solidFill>
                <a:schemeClr val="tx1"/>
              </a:solidFill>
            </a:endParaRPr>
          </a:p>
        </p:txBody>
      </p:sp>
      <p:sp>
        <p:nvSpPr>
          <p:cNvPr id="10" name="MIO_LOGOPLACEHOLDER#Light" hidden="1">
            <a:extLst>
              <a:ext uri="{FF2B5EF4-FFF2-40B4-BE49-F238E27FC236}">
                <a16:creationId xmlns:a16="http://schemas.microsoft.com/office/drawing/2014/main" id="{B138DCD2-E98B-DFE2-CB3C-BA600157AFB7}"/>
              </a:ext>
            </a:extLst>
          </p:cNvPr>
          <p:cNvSpPr/>
          <p:nvPr/>
        </p:nvSpPr>
        <p:spPr>
          <a:xfrm>
            <a:off x="9946331" y="6149070"/>
            <a:ext cx="1933416" cy="53837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Tree>
    <p:extLst>
      <p:ext uri="{BB962C8B-B14F-4D97-AF65-F5344CB8AC3E}">
        <p14:creationId xmlns:p14="http://schemas.microsoft.com/office/powerpoint/2010/main" val="1444192657"/>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ivider C -Dar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17755-F384-4C33-8999-63BE7CD37675}"/>
              </a:ext>
            </a:extLst>
          </p:cNvPr>
          <p:cNvSpPr>
            <a:spLocks noGrp="1"/>
          </p:cNvSpPr>
          <p:nvPr>
            <p:ph type="title"/>
          </p:nvPr>
        </p:nvSpPr>
        <p:spPr>
          <a:xfrm>
            <a:off x="361200" y="999000"/>
            <a:ext cx="9525000" cy="3304800"/>
          </a:xfrm>
        </p:spPr>
        <p:txBody>
          <a:bodyPr/>
          <a:lstStyle>
            <a:lvl1pPr>
              <a:defRPr sz="5400" baseline="0"/>
            </a:lvl1pPr>
          </a:lstStyle>
          <a:p>
            <a:r>
              <a:rPr lang="en-US"/>
              <a:t>Click to edit Master title style</a:t>
            </a:r>
          </a:p>
        </p:txBody>
      </p:sp>
      <p:sp>
        <p:nvSpPr>
          <p:cNvPr id="3" name="Date Placeholder 2">
            <a:extLst>
              <a:ext uri="{FF2B5EF4-FFF2-40B4-BE49-F238E27FC236}">
                <a16:creationId xmlns:a16="http://schemas.microsoft.com/office/drawing/2014/main" id="{B09E1B8F-E9C1-474E-8906-AADB5B0D9C9A}"/>
              </a:ext>
            </a:extLst>
          </p:cNvPr>
          <p:cNvSpPr>
            <a:spLocks noGrp="1"/>
          </p:cNvSpPr>
          <p:nvPr>
            <p:ph type="dt" sz="half" idx="10"/>
          </p:nvPr>
        </p:nvSpPr>
        <p:spPr/>
        <p:txBody>
          <a:bodyPr/>
          <a:lstStyle>
            <a:lvl1pPr>
              <a:defRPr baseline="0"/>
            </a:lvl1pPr>
          </a:lstStyle>
          <a:p>
            <a:fld id="{A81F2272-26E1-47E6-BDF6-9170DEF72798}" type="datetime1">
              <a:rPr lang="en-US" smtClean="0"/>
              <a:t>2/9/2026</a:t>
            </a:fld>
            <a:endParaRPr lang="en-US"/>
          </a:p>
        </p:txBody>
      </p:sp>
      <p:sp>
        <p:nvSpPr>
          <p:cNvPr id="4" name="Footer Placeholder 3">
            <a:extLst>
              <a:ext uri="{FF2B5EF4-FFF2-40B4-BE49-F238E27FC236}">
                <a16:creationId xmlns:a16="http://schemas.microsoft.com/office/drawing/2014/main" id="{C2F20D0C-CD2A-4E56-8068-D1004AB1AA38}"/>
              </a:ext>
            </a:extLst>
          </p:cNvPr>
          <p:cNvSpPr>
            <a:spLocks noGrp="1"/>
          </p:cNvSpPr>
          <p:nvPr>
            <p:ph type="ftr" sz="quarter" idx="11"/>
          </p:nvPr>
        </p:nvSpPr>
        <p:spPr/>
        <p:txBody>
          <a:bodyPr/>
          <a:lstStyle>
            <a:lvl1pPr>
              <a:defRPr baseline="0"/>
            </a:lvl1pPr>
          </a:lstStyle>
          <a:p>
            <a:r>
              <a:rPr lang="en-US"/>
              <a:t>© 2025 SAG ARIS GmbH. All rights reserved.</a:t>
            </a:r>
          </a:p>
        </p:txBody>
      </p:sp>
      <p:sp>
        <p:nvSpPr>
          <p:cNvPr id="5" name="Slide Number Placeholder 4">
            <a:extLst>
              <a:ext uri="{FF2B5EF4-FFF2-40B4-BE49-F238E27FC236}">
                <a16:creationId xmlns:a16="http://schemas.microsoft.com/office/drawing/2014/main" id="{E8059A21-F255-45E3-A243-0F55AAFEEF11}"/>
              </a:ext>
            </a:extLst>
          </p:cNvPr>
          <p:cNvSpPr>
            <a:spLocks noGrp="1"/>
          </p:cNvSpPr>
          <p:nvPr>
            <p:ph type="sldNum" sz="quarter" idx="12"/>
          </p:nvPr>
        </p:nvSpPr>
        <p:spPr/>
        <p:txBody>
          <a:bodyPr/>
          <a:lstStyle>
            <a:lvl1pPr>
              <a:defRPr baseline="0"/>
            </a:lvl1pPr>
          </a:lstStyle>
          <a:p>
            <a:fld id="{22FF84AA-2C76-4AF1-8502-73D25D47F37C}" type="slidenum">
              <a:rPr lang="en-US" smtClean="0"/>
              <a:pPr/>
              <a:t>‹#›</a:t>
            </a:fld>
            <a:endParaRPr lang="en-US"/>
          </a:p>
        </p:txBody>
      </p:sp>
      <p:sp>
        <p:nvSpPr>
          <p:cNvPr id="10" name="Layout Support" hidden="1">
            <a:extLst>
              <a:ext uri="{FF2B5EF4-FFF2-40B4-BE49-F238E27FC236}">
                <a16:creationId xmlns:a16="http://schemas.microsoft.com/office/drawing/2014/main" id="{D44ACEDA-D0BD-407A-9331-C802B7DF1850}"/>
              </a:ext>
            </a:extLst>
          </p:cNvPr>
          <p:cNvSpPr txBox="1">
            <a:spLocks/>
          </p:cNvSpPr>
          <p:nvPr>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a:solidFill>
                  <a:schemeClr val="bg1">
                    <a:lumMod val="50000"/>
                  </a:schemeClr>
                </a:solidFill>
              </a:rPr>
              <a:t>D10000</a:t>
            </a:r>
          </a:p>
        </p:txBody>
      </p:sp>
      <p:cxnSp>
        <p:nvCxnSpPr>
          <p:cNvPr id="14" name="Divider">
            <a:extLst>
              <a:ext uri="{FF2B5EF4-FFF2-40B4-BE49-F238E27FC236}">
                <a16:creationId xmlns:a16="http://schemas.microsoft.com/office/drawing/2014/main" id="{8CB69850-01F0-908F-EC18-8AA2A1D90753}"/>
              </a:ext>
            </a:extLst>
          </p:cNvPr>
          <p:cNvCxnSpPr>
            <a:cxnSpLocks noGrp="1" noRot="1" noMove="1" noResize="1" noEditPoints="1" noAdjustHandles="1" noChangeArrowheads="1" noChangeShapeType="1"/>
          </p:cNvCxnSpPr>
          <p:nvPr/>
        </p:nvCxnSpPr>
        <p:spPr>
          <a:xfrm>
            <a:off x="361950" y="610200"/>
            <a:ext cx="192599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Flight Mode" hidden="1">
            <a:extLst>
              <a:ext uri="{FF2B5EF4-FFF2-40B4-BE49-F238E27FC236}">
                <a16:creationId xmlns:a16="http://schemas.microsoft.com/office/drawing/2014/main" id="{626CC140-C3A8-BF39-B468-E095CE48539A}"/>
              </a:ext>
            </a:extLst>
          </p:cNvPr>
          <p:cNvSpPr/>
          <p:nvPr>
            <p:custDataLst>
              <p:tags r:id="rId2"/>
            </p:custDataLst>
          </p:nvPr>
        </p:nvSpPr>
        <p:spPr>
          <a:xfrm>
            <a:off x="10082213" y="6054964"/>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
        <p:nvSpPr>
          <p:cNvPr id="7" name="MIO_LOGOPLACEHOLDER#Light" hidden="1">
            <a:extLst>
              <a:ext uri="{FF2B5EF4-FFF2-40B4-BE49-F238E27FC236}">
                <a16:creationId xmlns:a16="http://schemas.microsoft.com/office/drawing/2014/main" id="{39E181BC-53DC-9A95-41C2-EA5ADB5051F9}"/>
              </a:ext>
            </a:extLst>
          </p:cNvPr>
          <p:cNvSpPr/>
          <p:nvPr/>
        </p:nvSpPr>
        <p:spPr>
          <a:xfrm>
            <a:off x="9946331" y="6149070"/>
            <a:ext cx="1933416" cy="53837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
        <p:nvSpPr>
          <p:cNvPr id="8" name="Layout Support" hidden="1">
            <a:extLst>
              <a:ext uri="{FF2B5EF4-FFF2-40B4-BE49-F238E27FC236}">
                <a16:creationId xmlns:a16="http://schemas.microsoft.com/office/drawing/2014/main" id="{6C8FEC30-4E64-0735-CE91-F7F8B3700D6C}"/>
              </a:ext>
            </a:extLst>
          </p:cNvPr>
          <p:cNvSpPr txBox="1">
            <a:spLocks/>
          </p:cNvSpPr>
          <p:nvPr userDrawn="1">
            <p:custDataLst>
              <p:tags r:id="rId3"/>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a:solidFill>
                  <a:schemeClr val="bg1">
                    <a:lumMod val="50000"/>
                  </a:schemeClr>
                </a:solidFill>
              </a:rPr>
              <a:t>D10000</a:t>
            </a:r>
          </a:p>
        </p:txBody>
      </p:sp>
      <p:cxnSp>
        <p:nvCxnSpPr>
          <p:cNvPr id="9" name="Divider">
            <a:extLst>
              <a:ext uri="{FF2B5EF4-FFF2-40B4-BE49-F238E27FC236}">
                <a16:creationId xmlns:a16="http://schemas.microsoft.com/office/drawing/2014/main" id="{C5E91C3C-A9E5-74A8-F487-162771F11261}"/>
              </a:ext>
            </a:extLst>
          </p:cNvPr>
          <p:cNvCxnSpPr/>
          <p:nvPr userDrawn="1"/>
        </p:nvCxnSpPr>
        <p:spPr>
          <a:xfrm>
            <a:off x="361950" y="610200"/>
            <a:ext cx="192599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light Mode" hidden="1">
            <a:extLst>
              <a:ext uri="{FF2B5EF4-FFF2-40B4-BE49-F238E27FC236}">
                <a16:creationId xmlns:a16="http://schemas.microsoft.com/office/drawing/2014/main" id="{C3178984-A42C-199A-908B-99470D494D96}"/>
              </a:ext>
            </a:extLst>
          </p:cNvPr>
          <p:cNvSpPr/>
          <p:nvPr userDrawn="1">
            <p:custDataLst>
              <p:tags r:id="rId4"/>
            </p:custDataLst>
          </p:nvPr>
        </p:nvSpPr>
        <p:spPr>
          <a:xfrm>
            <a:off x="10082213" y="6054964"/>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
        <p:nvSpPr>
          <p:cNvPr id="12" name="MIO_LOGOPLACEHOLDER#Light" hidden="1">
            <a:extLst>
              <a:ext uri="{FF2B5EF4-FFF2-40B4-BE49-F238E27FC236}">
                <a16:creationId xmlns:a16="http://schemas.microsoft.com/office/drawing/2014/main" id="{76FAD765-2B2E-3950-D013-BB1BCD885560}"/>
              </a:ext>
            </a:extLst>
          </p:cNvPr>
          <p:cNvSpPr/>
          <p:nvPr userDrawn="1"/>
        </p:nvSpPr>
        <p:spPr>
          <a:xfrm>
            <a:off x="9946331" y="6149070"/>
            <a:ext cx="1933416" cy="53837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Tree>
    <p:extLst>
      <p:ext uri="{BB962C8B-B14F-4D97-AF65-F5344CB8AC3E}">
        <p14:creationId xmlns:p14="http://schemas.microsoft.com/office/powerpoint/2010/main" val="5716048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711">
          <p15:clr>
            <a:srgbClr val="FFFFFF"/>
          </p15:clr>
        </p15:guide>
        <p15:guide id="2" pos="228">
          <p15:clr>
            <a:srgbClr val="FFFFFF"/>
          </p15:clr>
        </p15:guide>
        <p15:guide id="3" orient="horz" pos="139">
          <p15:clr>
            <a:srgbClr val="FFFFFF"/>
          </p15:clr>
        </p15:guide>
        <p15:guide id="4" pos="6228">
          <p15:clr>
            <a:srgbClr val="FFFFFF"/>
          </p15:clr>
        </p15:guide>
        <p15:guide id="5" orient="horz" pos="629">
          <p15:clr>
            <a:srgbClr val="FFFF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hasCustomPrompt="1"/>
          </p:nvPr>
        </p:nvSpPr>
        <p:spPr/>
        <p:txBody>
          <a:bodyPr/>
          <a:lstStyle>
            <a:lvl1pPr>
              <a:defRPr baseline="0"/>
            </a:lvl1pPr>
          </a:lstStyle>
          <a:p>
            <a:r>
              <a:rPr lang="en-US"/>
              <a:t>Click to edit Master title</a:t>
            </a:r>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hasCustomPrompt="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Segoe UI" panose="020B0502040204020203" pitchFamily="34" charset="0"/>
                <a:cs typeface="Segoe UI" panose="020B0502040204020203" pitchFamily="34" charset="0"/>
              </a:defRPr>
            </a:lvl1pPr>
          </a:lstStyle>
          <a:p>
            <a:pPr lvl="0"/>
            <a:r>
              <a:rPr lang="en-US"/>
              <a:t>Click to add subtitle</a:t>
            </a:r>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Segoe UI" panose="020B0502040204020203" pitchFamily="34" charset="0"/>
                <a:cs typeface="Segoe UI" panose="020B0502040204020203" pitchFamily="34" charset="0"/>
              </a:defRPr>
            </a:lvl1pPr>
            <a:lvl2pPr>
              <a:defRPr baseline="0">
                <a:latin typeface="Segoe UI" panose="020B0502040204020203" pitchFamily="34" charset="0"/>
                <a:cs typeface="Segoe UI" panose="020B0502040204020203" pitchFamily="34" charset="0"/>
              </a:defRPr>
            </a:lvl2pPr>
            <a:lvl3pPr>
              <a:defRPr baseline="0">
                <a:latin typeface="Segoe UI" panose="020B0502040204020203" pitchFamily="34" charset="0"/>
                <a:cs typeface="Segoe UI" panose="020B0502040204020203" pitchFamily="34" charset="0"/>
              </a:defRPr>
            </a:lvl3pPr>
            <a:lvl4pPr>
              <a:defRPr baseline="0">
                <a:latin typeface="Segoe UI" panose="020B0502040204020203" pitchFamily="34" charset="0"/>
                <a:cs typeface="Segoe UI" panose="020B0502040204020203" pitchFamily="34" charset="0"/>
              </a:defRPr>
            </a:lvl4pPr>
            <a:lvl5pPr>
              <a:defRPr baseline="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Layout Support" hidden="1">
            <a:extLst>
              <a:ext uri="{FF2B5EF4-FFF2-40B4-BE49-F238E27FC236}">
                <a16:creationId xmlns:a16="http://schemas.microsoft.com/office/drawing/2014/main" id="{FDBE381A-FCDB-45C9-9B26-4233FBCEEFB6}"/>
              </a:ext>
            </a:extLst>
          </p:cNvPr>
          <p:cNvSpPr txBox="1">
            <a:spLocks/>
          </p:cNvSpPr>
          <p:nvPr>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a:solidFill>
                  <a:schemeClr val="bg1">
                    <a:lumMod val="50000"/>
                  </a:schemeClr>
                </a:solidFill>
              </a:rPr>
              <a:t>S11010</a:t>
            </a:r>
          </a:p>
        </p:txBody>
      </p:sp>
      <p:sp>
        <p:nvSpPr>
          <p:cNvPr id="7" name="Date Placeholder 6">
            <a:extLst>
              <a:ext uri="{FF2B5EF4-FFF2-40B4-BE49-F238E27FC236}">
                <a16:creationId xmlns:a16="http://schemas.microsoft.com/office/drawing/2014/main" id="{D37805F2-F64C-4816-B6E9-7621B8A5342B}"/>
              </a:ext>
            </a:extLst>
          </p:cNvPr>
          <p:cNvSpPr>
            <a:spLocks noGrp="1"/>
          </p:cNvSpPr>
          <p:nvPr>
            <p:ph type="dt" sz="half" idx="22"/>
          </p:nvPr>
        </p:nvSpPr>
        <p:spPr/>
        <p:txBody>
          <a:bodyPr/>
          <a:lstStyle/>
          <a:p>
            <a:fld id="{9DD29FC4-6C5D-4FDE-93FA-BE4B0C7FD163}" type="datetime1">
              <a:rPr lang="en-US" smtClean="0"/>
              <a:t>2/9/2026</a:t>
            </a:fld>
            <a:endParaRPr lang="en-US"/>
          </a:p>
        </p:txBody>
      </p:sp>
      <p:sp>
        <p:nvSpPr>
          <p:cNvPr id="8" name="Footer Placeholder 7">
            <a:extLst>
              <a:ext uri="{FF2B5EF4-FFF2-40B4-BE49-F238E27FC236}">
                <a16:creationId xmlns:a16="http://schemas.microsoft.com/office/drawing/2014/main" id="{B9CA24CA-7FC1-4CC3-8F5E-996AF8BA1482}"/>
              </a:ext>
            </a:extLst>
          </p:cNvPr>
          <p:cNvSpPr>
            <a:spLocks noGrp="1"/>
          </p:cNvSpPr>
          <p:nvPr>
            <p:ph type="ftr" sz="quarter" idx="23"/>
          </p:nvPr>
        </p:nvSpPr>
        <p:spPr/>
        <p:txBody>
          <a:bodyPr/>
          <a:lstStyle/>
          <a:p>
            <a:r>
              <a:rPr lang="en-US"/>
              <a:t>© 2025 SAG ARIS GmbH. All rights reserved.</a:t>
            </a:r>
          </a:p>
        </p:txBody>
      </p:sp>
      <p:sp>
        <p:nvSpPr>
          <p:cNvPr id="10" name="Slide Number Placeholder 9">
            <a:extLst>
              <a:ext uri="{FF2B5EF4-FFF2-40B4-BE49-F238E27FC236}">
                <a16:creationId xmlns:a16="http://schemas.microsoft.com/office/drawing/2014/main" id="{782BDE36-1A1D-410B-96A0-FDCAB934B5F4}"/>
              </a:ext>
            </a:extLst>
          </p:cNvPr>
          <p:cNvSpPr>
            <a:spLocks noGrp="1"/>
          </p:cNvSpPr>
          <p:nvPr>
            <p:ph type="sldNum" sz="quarter" idx="24"/>
          </p:nvPr>
        </p:nvSpPr>
        <p:spPr/>
        <p:txBody>
          <a:bodyPr/>
          <a:lstStyle/>
          <a:p>
            <a:fld id="{22FF84AA-2C76-4AF1-8502-73D25D47F37C}" type="slidenum">
              <a:rPr lang="en-US" noProof="0" smtClean="0"/>
              <a:pPr/>
              <a:t>‹#›</a:t>
            </a:fld>
            <a:endParaRPr lang="en-US" noProof="0"/>
          </a:p>
        </p:txBody>
      </p:sp>
      <p:sp>
        <p:nvSpPr>
          <p:cNvPr id="3" name="MIO_Placeholder_Mapping" hidden="1">
            <a:extLst>
              <a:ext uri="{FF2B5EF4-FFF2-40B4-BE49-F238E27FC236}">
                <a16:creationId xmlns:a16="http://schemas.microsoft.com/office/drawing/2014/main" id="{20789925-39DD-2CCD-1CF5-A64D5D148310}"/>
              </a:ext>
            </a:extLst>
          </p:cNvPr>
          <p:cNvSpPr/>
          <p:nvPr>
            <p:custDataLst>
              <p:tags r:id="rId2"/>
            </p:custDataLst>
          </p:nvPr>
        </p:nvSpPr>
        <p:spPr>
          <a:xfrm>
            <a:off x="0" y="0"/>
            <a:ext cx="0" cy="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
        <p:nvSpPr>
          <p:cNvPr id="4" name="Flight Mode" hidden="1">
            <a:extLst>
              <a:ext uri="{FF2B5EF4-FFF2-40B4-BE49-F238E27FC236}">
                <a16:creationId xmlns:a16="http://schemas.microsoft.com/office/drawing/2014/main" id="{A7352ACD-990B-7EA4-21C0-86E10E89C484}"/>
              </a:ext>
            </a:extLst>
          </p:cNvPr>
          <p:cNvSpPr>
            <a:spLocks/>
          </p:cNvSpPr>
          <p:nvPr>
            <p:custDataLst>
              <p:tags r:id="rId3"/>
            </p:custDataLst>
          </p:nvPr>
        </p:nvSpPr>
        <p:spPr>
          <a:xfrm>
            <a:off x="10056814" y="6056313"/>
            <a:ext cx="1981200" cy="696098"/>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de-DE">
              <a:solidFill>
                <a:schemeClr val="tx1"/>
              </a:solidFill>
            </a:endParaRPr>
          </a:p>
        </p:txBody>
      </p:sp>
      <p:sp>
        <p:nvSpPr>
          <p:cNvPr id="5" name="MIO_LOGOPLACEHOLDER#Light" hidden="1">
            <a:extLst>
              <a:ext uri="{FF2B5EF4-FFF2-40B4-BE49-F238E27FC236}">
                <a16:creationId xmlns:a16="http://schemas.microsoft.com/office/drawing/2014/main" id="{0BAE28FA-BC05-5A5D-8A2A-2EB807B8ECDA}"/>
              </a:ext>
            </a:extLst>
          </p:cNvPr>
          <p:cNvSpPr/>
          <p:nvPr/>
        </p:nvSpPr>
        <p:spPr>
          <a:xfrm>
            <a:off x="9946331" y="6149070"/>
            <a:ext cx="1933416" cy="53837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a:solidFill>
                <a:schemeClr val="tx1"/>
              </a:solidFill>
            </a:endParaRPr>
          </a:p>
        </p:txBody>
      </p:sp>
    </p:spTree>
    <p:extLst>
      <p:ext uri="{BB962C8B-B14F-4D97-AF65-F5344CB8AC3E}">
        <p14:creationId xmlns:p14="http://schemas.microsoft.com/office/powerpoint/2010/main" val="2163320015"/>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B57D85EC-9792-B92C-140C-F9FC536EBACB}"/>
              </a:ext>
            </a:extLst>
          </p:cNvPr>
          <p:cNvSpPr>
            <a:spLocks noGrp="1"/>
          </p:cNvSpPr>
          <p:nvPr>
            <p:ph type="ftr" sz="quarter" idx="13"/>
          </p:nvPr>
        </p:nvSpPr>
        <p:spPr/>
        <p:txBody>
          <a:bodyPr/>
          <a:lstStyle>
            <a:lvl1pPr>
              <a:defRPr b="0"/>
            </a:lvl1pPr>
          </a:lstStyle>
          <a:p>
            <a:r>
              <a:rPr lang="en-US"/>
              <a:t>© SAG ARIS GmbH. All rights reserved.</a:t>
            </a:r>
            <a:endParaRPr lang="en-US" b="0" dirty="0"/>
          </a:p>
        </p:txBody>
      </p:sp>
      <p:sp>
        <p:nvSpPr>
          <p:cNvPr id="7" name="Slide Number Placeholder 6">
            <a:extLst>
              <a:ext uri="{FF2B5EF4-FFF2-40B4-BE49-F238E27FC236}">
                <a16:creationId xmlns:a16="http://schemas.microsoft.com/office/drawing/2014/main" id="{DEF36D2D-E281-B280-F069-7D8E3A211207}"/>
              </a:ext>
            </a:extLst>
          </p:cNvPr>
          <p:cNvSpPr>
            <a:spLocks noGrp="1"/>
          </p:cNvSpPr>
          <p:nvPr>
            <p:ph type="sldNum" sz="quarter" idx="14"/>
          </p:nvPr>
        </p:nvSpPr>
        <p:spPr/>
        <p:txBody>
          <a:bodyPr/>
          <a:lstStyle/>
          <a:p>
            <a:fld id="{59C7FD53-A61A-46D7-B725-1FF4E056D6EF}" type="slidenum">
              <a:rPr lang="en-US"/>
              <a:pPr/>
              <a:t>‹#›</a:t>
            </a:fld>
            <a:endParaRPr lang="en-US" dirty="0"/>
          </a:p>
        </p:txBody>
      </p:sp>
      <p:sp>
        <p:nvSpPr>
          <p:cNvPr id="3" name="Subtitle 1">
            <a:extLst>
              <a:ext uri="{FF2B5EF4-FFF2-40B4-BE49-F238E27FC236}">
                <a16:creationId xmlns:a16="http://schemas.microsoft.com/office/drawing/2014/main" id="{7C62C148-15C8-6F33-36E7-B562BA437F30}"/>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0"/>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B24CA0D4-EC4F-FECD-2A56-6776537F07A1}"/>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8" name="MIO_Placeholder_Mapping" hidden="1">
            <a:extLst>
              <a:ext uri="{FF2B5EF4-FFF2-40B4-BE49-F238E27FC236}">
                <a16:creationId xmlns:a16="http://schemas.microsoft.com/office/drawing/2014/main" id="{902278B9-E31E-DD10-2F91-458B128B3012}"/>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188567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67FE4A-FE4B-0907-32A9-685AA0F5D811}"/>
              </a:ext>
            </a:extLst>
          </p:cNvPr>
          <p:cNvSpPr>
            <a:spLocks noGrp="1"/>
          </p:cNvSpPr>
          <p:nvPr>
            <p:ph type="ftr" sz="quarter" idx="10"/>
          </p:nvPr>
        </p:nvSpPr>
        <p:spPr/>
        <p:txBody>
          <a:bodyPr/>
          <a:lstStyle/>
          <a:p>
            <a:r>
              <a:rPr lang="en-US"/>
              <a:t>© SAG ARIS GmbH. All rights reserved.</a:t>
            </a:r>
          </a:p>
        </p:txBody>
      </p:sp>
      <p:sp>
        <p:nvSpPr>
          <p:cNvPr id="5" name="Slide Number Placeholder 4">
            <a:extLst>
              <a:ext uri="{FF2B5EF4-FFF2-40B4-BE49-F238E27FC236}">
                <a16:creationId xmlns:a16="http://schemas.microsoft.com/office/drawing/2014/main" id="{529B2386-9131-EA57-ECEF-7CD635278984}"/>
              </a:ext>
            </a:extLst>
          </p:cNvPr>
          <p:cNvSpPr>
            <a:spLocks noGrp="1"/>
          </p:cNvSpPr>
          <p:nvPr>
            <p:ph type="sldNum" sz="quarter" idx="11"/>
          </p:nvPr>
        </p:nvSpPr>
        <p:spPr/>
        <p:txBody>
          <a:bodyPr/>
          <a:lstStyle/>
          <a:p>
            <a:fld id="{59C7FD53-A61A-46D7-B725-1FF4E056D6EF}" type="slidenum">
              <a:rPr lang="en-US"/>
              <a:pPr/>
              <a:t>‹#›</a:t>
            </a:fld>
            <a:endParaRPr lang="en-US"/>
          </a:p>
        </p:txBody>
      </p:sp>
      <p:sp>
        <p:nvSpPr>
          <p:cNvPr id="3" name="Flight Mode" hidden="1">
            <a:extLst>
              <a:ext uri="{FF2B5EF4-FFF2-40B4-BE49-F238E27FC236}">
                <a16:creationId xmlns:a16="http://schemas.microsoft.com/office/drawing/2014/main" id="{3F5CFB7F-97F5-B976-AC16-BF147E59D8FE}"/>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4" name="MIO_Placeholder_Mapping" hidden="1">
            <a:extLst>
              <a:ext uri="{FF2B5EF4-FFF2-40B4-BE49-F238E27FC236}">
                <a16:creationId xmlns:a16="http://schemas.microsoft.com/office/drawing/2014/main" id="{3C155270-39D3-43B0-6A7E-41BD74ABCCF7}"/>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2911866"/>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4CA95-B765-B39E-237D-5D05319A5A7E}"/>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C58964C5-7FA0-CCCC-1C30-91BD5EBD4B29}"/>
              </a:ext>
            </a:extLst>
          </p:cNvPr>
          <p:cNvSpPr>
            <a:spLocks noGrp="1"/>
          </p:cNvSpPr>
          <p:nvPr>
            <p:ph type="body" sz="quarter" idx="12" hasCustomPrompt="1"/>
          </p:nvPr>
        </p:nvSpPr>
        <p:spPr>
          <a:xfrm>
            <a:off x="551384" y="1196752"/>
            <a:ext cx="5472000" cy="719138"/>
          </a:xfrm>
          <a:solidFill>
            <a:schemeClr val="tx1"/>
          </a:solidFill>
        </p:spPr>
        <p:txBody>
          <a:bodyPr lIns="72000" tIns="72000" rIns="72000" bIns="72000">
            <a:normAutofit/>
          </a:bodyPr>
          <a:lstStyle>
            <a:lvl1pPr>
              <a:lnSpc>
                <a:spcPct val="100000"/>
              </a:lnSpc>
              <a:defRPr sz="1800" b="1">
                <a:solidFill>
                  <a:schemeClr val="bg1"/>
                </a:solidFill>
                <a:latin typeface="+mj-lt"/>
              </a:defRPr>
            </a:lvl1pPr>
          </a:lstStyle>
          <a:p>
            <a:pPr lvl="0"/>
            <a:r>
              <a:rPr lang="en-US"/>
              <a:t>Click to edit Master text styles </a:t>
            </a:r>
          </a:p>
        </p:txBody>
      </p:sp>
      <p:sp>
        <p:nvSpPr>
          <p:cNvPr id="9" name="Text Placeholder 5">
            <a:extLst>
              <a:ext uri="{FF2B5EF4-FFF2-40B4-BE49-F238E27FC236}">
                <a16:creationId xmlns:a16="http://schemas.microsoft.com/office/drawing/2014/main" id="{0F777FB8-224A-FE2F-EE47-EF094DBD703F}"/>
              </a:ext>
            </a:extLst>
          </p:cNvPr>
          <p:cNvSpPr>
            <a:spLocks noGrp="1"/>
          </p:cNvSpPr>
          <p:nvPr>
            <p:ph type="body" sz="quarter" idx="13"/>
          </p:nvPr>
        </p:nvSpPr>
        <p:spPr>
          <a:xfrm>
            <a:off x="6168008" y="1196752"/>
            <a:ext cx="5472000" cy="719138"/>
          </a:xfrm>
          <a:solidFill>
            <a:schemeClr val="tx1"/>
          </a:solidFill>
        </p:spPr>
        <p:txBody>
          <a:bodyPr lIns="72000" tIns="72000" rIns="72000" bIns="72000">
            <a:normAutofit/>
          </a:bodyPr>
          <a:lstStyle>
            <a:lvl1pPr>
              <a:lnSpc>
                <a:spcPct val="100000"/>
              </a:lnSpc>
              <a:defRPr sz="1800" b="1">
                <a:solidFill>
                  <a:schemeClr val="bg1"/>
                </a:solidFill>
                <a:latin typeface="+mj-lt"/>
              </a:defRPr>
            </a:lvl1pPr>
          </a:lstStyle>
          <a:p>
            <a:pPr lvl="0"/>
            <a:r>
              <a:rPr lang="en-US"/>
              <a:t>Click to edit Master text styles</a:t>
            </a:r>
          </a:p>
        </p:txBody>
      </p:sp>
      <p:sp>
        <p:nvSpPr>
          <p:cNvPr id="11" name="Content Placeholder 10">
            <a:extLst>
              <a:ext uri="{FF2B5EF4-FFF2-40B4-BE49-F238E27FC236}">
                <a16:creationId xmlns:a16="http://schemas.microsoft.com/office/drawing/2014/main" id="{8C4F5225-98C4-062A-B081-A82119FFF644}"/>
              </a:ext>
            </a:extLst>
          </p:cNvPr>
          <p:cNvSpPr>
            <a:spLocks noGrp="1"/>
          </p:cNvSpPr>
          <p:nvPr>
            <p:ph sz="quarter" idx="14"/>
          </p:nvPr>
        </p:nvSpPr>
        <p:spPr>
          <a:xfrm>
            <a:off x="550863" y="2060848"/>
            <a:ext cx="5472000" cy="40319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CB06AA18-1927-8C17-4E9F-320FA4A676AB}"/>
              </a:ext>
            </a:extLst>
          </p:cNvPr>
          <p:cNvSpPr>
            <a:spLocks noGrp="1"/>
          </p:cNvSpPr>
          <p:nvPr>
            <p:ph sz="quarter" idx="15"/>
          </p:nvPr>
        </p:nvSpPr>
        <p:spPr>
          <a:xfrm>
            <a:off x="6168616" y="2060848"/>
            <a:ext cx="5472000" cy="40319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1AA604-BA37-C370-0E4E-A2AB289F33EF}"/>
              </a:ext>
            </a:extLst>
          </p:cNvPr>
          <p:cNvSpPr>
            <a:spLocks noGrp="1"/>
          </p:cNvSpPr>
          <p:nvPr>
            <p:ph type="ftr" sz="quarter" idx="16"/>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6E97C579-1B43-D1E2-6B68-F80458FBE4A2}"/>
              </a:ext>
            </a:extLst>
          </p:cNvPr>
          <p:cNvSpPr>
            <a:spLocks noGrp="1"/>
          </p:cNvSpPr>
          <p:nvPr>
            <p:ph type="sldNum" sz="quarter" idx="17"/>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08A01AEB-F5F0-8156-CAFE-8663314DD23A}"/>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26F0315E-1E03-9383-A6B4-DDE6FDF05CA6}"/>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8" name="MIO_Placeholder_Mapping" hidden="1">
            <a:extLst>
              <a:ext uri="{FF2B5EF4-FFF2-40B4-BE49-F238E27FC236}">
                <a16:creationId xmlns:a16="http://schemas.microsoft.com/office/drawing/2014/main" id="{92EB7CFD-6BAF-8FF9-B539-39717A2D081E}"/>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5479312"/>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Pict 3 Contents - Whit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9C7BA17-7D21-318B-4D20-EEE6951DED0F}"/>
              </a:ext>
            </a:extLst>
          </p:cNvPr>
          <p:cNvSpPr>
            <a:spLocks noGrp="1"/>
          </p:cNvSpPr>
          <p:nvPr>
            <p:ph type="pic" sz="quarter" idx="12"/>
          </p:nvPr>
        </p:nvSpPr>
        <p:spPr>
          <a:xfrm>
            <a:off x="550862" y="332696"/>
            <a:ext cx="11090276" cy="2375579"/>
          </a:xfrm>
          <a:pattFill prst="wdUpDiag">
            <a:fgClr>
              <a:schemeClr val="bg1"/>
            </a:fgClr>
            <a:bgClr>
              <a:schemeClr val="bg2"/>
            </a:bgClr>
          </a:pattFill>
        </p:spPr>
        <p:txBody>
          <a:bodyPr/>
          <a:lstStyle/>
          <a:p>
            <a:r>
              <a:rPr lang="en-US"/>
              <a:t>Click icon to add picture</a:t>
            </a:r>
          </a:p>
        </p:txBody>
      </p:sp>
      <p:sp>
        <p:nvSpPr>
          <p:cNvPr id="2" name="Title 1">
            <a:extLst>
              <a:ext uri="{FF2B5EF4-FFF2-40B4-BE49-F238E27FC236}">
                <a16:creationId xmlns:a16="http://schemas.microsoft.com/office/drawing/2014/main" id="{E3C7A30D-F73C-15D2-F503-F64A71A017C5}"/>
              </a:ext>
            </a:extLst>
          </p:cNvPr>
          <p:cNvSpPr>
            <a:spLocks noGrp="1"/>
          </p:cNvSpPr>
          <p:nvPr>
            <p:ph type="title"/>
          </p:nvPr>
        </p:nvSpPr>
        <p:spPr>
          <a:xfrm>
            <a:off x="479376" y="548680"/>
            <a:ext cx="8496349" cy="648072"/>
          </a:xfrm>
          <a:solidFill>
            <a:schemeClr val="bg1"/>
          </a:solidFill>
        </p:spPr>
        <p:txBody>
          <a:bodyPr lIns="72000" anchor="ctr"/>
          <a:lstStyle/>
          <a:p>
            <a:r>
              <a:rPr lang="en-US"/>
              <a:t>Click to edit Master title style</a:t>
            </a:r>
            <a:endParaRPr lang="en-US" dirty="0"/>
          </a:p>
        </p:txBody>
      </p:sp>
      <p:sp>
        <p:nvSpPr>
          <p:cNvPr id="8" name="Text Placeholder 7">
            <a:extLst>
              <a:ext uri="{FF2B5EF4-FFF2-40B4-BE49-F238E27FC236}">
                <a16:creationId xmlns:a16="http://schemas.microsoft.com/office/drawing/2014/main" id="{ED9446A4-609A-8903-AF39-EC6E95AAAE71}"/>
              </a:ext>
            </a:extLst>
          </p:cNvPr>
          <p:cNvSpPr>
            <a:spLocks noGrp="1"/>
          </p:cNvSpPr>
          <p:nvPr>
            <p:ph type="body" sz="quarter" idx="13"/>
          </p:nvPr>
        </p:nvSpPr>
        <p:spPr>
          <a:xfrm>
            <a:off x="550864"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9" name="Text Placeholder 7">
            <a:extLst>
              <a:ext uri="{FF2B5EF4-FFF2-40B4-BE49-F238E27FC236}">
                <a16:creationId xmlns:a16="http://schemas.microsoft.com/office/drawing/2014/main" id="{5E16756C-ABB1-5F68-A966-50D77CF2C661}"/>
              </a:ext>
            </a:extLst>
          </p:cNvPr>
          <p:cNvSpPr>
            <a:spLocks noGrp="1"/>
          </p:cNvSpPr>
          <p:nvPr>
            <p:ph type="body" sz="quarter" idx="14"/>
          </p:nvPr>
        </p:nvSpPr>
        <p:spPr>
          <a:xfrm>
            <a:off x="4295800"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10" name="Text Placeholder 7">
            <a:extLst>
              <a:ext uri="{FF2B5EF4-FFF2-40B4-BE49-F238E27FC236}">
                <a16:creationId xmlns:a16="http://schemas.microsoft.com/office/drawing/2014/main" id="{560557CF-767A-4879-9E54-F322A83EFB4B}"/>
              </a:ext>
            </a:extLst>
          </p:cNvPr>
          <p:cNvSpPr>
            <a:spLocks noGrp="1"/>
          </p:cNvSpPr>
          <p:nvPr>
            <p:ph type="body" sz="quarter" idx="15"/>
          </p:nvPr>
        </p:nvSpPr>
        <p:spPr>
          <a:xfrm>
            <a:off x="8040216" y="2852738"/>
            <a:ext cx="3600450" cy="792162"/>
          </a:xfrm>
          <a:solidFill>
            <a:schemeClr val="tx1"/>
          </a:solidFill>
        </p:spPr>
        <p:txBody>
          <a:bodyPr lIns="72000" tIns="72000" rIns="72000" bIns="72000">
            <a:normAutofit/>
          </a:bodyPr>
          <a:lstStyle>
            <a:lvl1pPr>
              <a:defRPr sz="1800" b="1">
                <a:solidFill>
                  <a:schemeClr val="bg1"/>
                </a:solidFill>
                <a:latin typeface="+mj-lt"/>
              </a:defRPr>
            </a:lvl1pPr>
          </a:lstStyle>
          <a:p>
            <a:pPr lvl="0"/>
            <a:r>
              <a:rPr lang="en-US"/>
              <a:t>Click to edit Master text styles</a:t>
            </a:r>
          </a:p>
        </p:txBody>
      </p:sp>
      <p:sp>
        <p:nvSpPr>
          <p:cNvPr id="12" name="Content Placeholder 11">
            <a:extLst>
              <a:ext uri="{FF2B5EF4-FFF2-40B4-BE49-F238E27FC236}">
                <a16:creationId xmlns:a16="http://schemas.microsoft.com/office/drawing/2014/main" id="{8E2596B3-F94E-6905-179D-41B90E572F7F}"/>
              </a:ext>
            </a:extLst>
          </p:cNvPr>
          <p:cNvSpPr>
            <a:spLocks noGrp="1"/>
          </p:cNvSpPr>
          <p:nvPr>
            <p:ph sz="quarter" idx="16"/>
          </p:nvPr>
        </p:nvSpPr>
        <p:spPr>
          <a:xfrm>
            <a:off x="550863"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BD106324-B2FC-9BA6-67EE-C0D5D3373CA2}"/>
              </a:ext>
            </a:extLst>
          </p:cNvPr>
          <p:cNvSpPr>
            <a:spLocks noGrp="1"/>
          </p:cNvSpPr>
          <p:nvPr>
            <p:ph sz="quarter" idx="17"/>
          </p:nvPr>
        </p:nvSpPr>
        <p:spPr>
          <a:xfrm>
            <a:off x="4295800"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1">
            <a:extLst>
              <a:ext uri="{FF2B5EF4-FFF2-40B4-BE49-F238E27FC236}">
                <a16:creationId xmlns:a16="http://schemas.microsoft.com/office/drawing/2014/main" id="{BB8B9043-3D0F-7EE2-759C-E27CF5EFE9FF}"/>
              </a:ext>
            </a:extLst>
          </p:cNvPr>
          <p:cNvSpPr>
            <a:spLocks noGrp="1"/>
          </p:cNvSpPr>
          <p:nvPr>
            <p:ph sz="quarter" idx="18"/>
          </p:nvPr>
        </p:nvSpPr>
        <p:spPr>
          <a:xfrm>
            <a:off x="8040216" y="3789364"/>
            <a:ext cx="3600450" cy="2303462"/>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50E9D04-6A20-2C61-BF39-3587F111B480}"/>
              </a:ext>
            </a:extLst>
          </p:cNvPr>
          <p:cNvSpPr>
            <a:spLocks noGrp="1"/>
          </p:cNvSpPr>
          <p:nvPr>
            <p:ph type="ftr" sz="quarter" idx="19"/>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0409232B-629D-D527-D661-447E34994FF3}"/>
              </a:ext>
            </a:extLst>
          </p:cNvPr>
          <p:cNvSpPr>
            <a:spLocks noGrp="1"/>
          </p:cNvSpPr>
          <p:nvPr>
            <p:ph type="sldNum" sz="quarter" idx="20"/>
          </p:nvPr>
        </p:nvSpPr>
        <p:spPr/>
        <p:txBody>
          <a:bodyPr/>
          <a:lstStyle/>
          <a:p>
            <a:fld id="{59C7FD53-A61A-46D7-B725-1FF4E056D6EF}" type="slidenum">
              <a:rPr lang="en-US"/>
              <a:pPr/>
              <a:t>‹#›</a:t>
            </a:fld>
            <a:endParaRPr lang="en-US"/>
          </a:p>
        </p:txBody>
      </p:sp>
      <p:sp>
        <p:nvSpPr>
          <p:cNvPr id="3" name="Flight Mode" hidden="1">
            <a:extLst>
              <a:ext uri="{FF2B5EF4-FFF2-40B4-BE49-F238E27FC236}">
                <a16:creationId xmlns:a16="http://schemas.microsoft.com/office/drawing/2014/main" id="{97FFC6C4-83EF-E781-50F4-4F9A1D46062C}"/>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
        <p:nvSpPr>
          <p:cNvPr id="4" name="MIO_Placeholder_Mapping" hidden="1">
            <a:extLst>
              <a:ext uri="{FF2B5EF4-FFF2-40B4-BE49-F238E27FC236}">
                <a16:creationId xmlns:a16="http://schemas.microsoft.com/office/drawing/2014/main" id="{2945D1E9-0EFB-9275-1AA0-EC95281DA0A1}"/>
              </a:ext>
            </a:extLst>
          </p:cNvPr>
          <p:cNvSpPr/>
          <p:nvPr userDrawn="1">
            <p:custDataLst>
              <p:tags r:id="rId2"/>
            </p:custDataLst>
          </p:nvPr>
        </p:nvSpPr>
        <p:spPr>
          <a:xfrm>
            <a:off x="0" y="0"/>
            <a:ext cx="0" cy="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383826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2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5B4E8-3F93-3151-2D50-CB6410996586}"/>
              </a:ext>
            </a:extLst>
          </p:cNvPr>
          <p:cNvSpPr>
            <a:spLocks noGrp="1"/>
          </p:cNvSpPr>
          <p:nvPr>
            <p:ph type="title"/>
          </p:nvPr>
        </p:nvSpPr>
        <p:spPr>
          <a:xfrm>
            <a:off x="551384"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096B376-5836-A3D3-A2E7-6FE629218A6B}"/>
              </a:ext>
            </a:extLst>
          </p:cNvPr>
          <p:cNvSpPr>
            <a:spLocks noGrp="1"/>
          </p:cNvSpPr>
          <p:nvPr>
            <p:ph sz="quarter" idx="12"/>
          </p:nvPr>
        </p:nvSpPr>
        <p:spPr>
          <a:xfrm>
            <a:off x="551384" y="1197668"/>
            <a:ext cx="5473179" cy="489539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52D405B3-1349-FF5A-7235-8E36AF73BDB9}"/>
              </a:ext>
            </a:extLst>
          </p:cNvPr>
          <p:cNvSpPr>
            <a:spLocks noGrp="1"/>
          </p:cNvSpPr>
          <p:nvPr>
            <p:ph sz="quarter" idx="13"/>
          </p:nvPr>
        </p:nvSpPr>
        <p:spPr>
          <a:xfrm>
            <a:off x="6168008" y="1196975"/>
            <a:ext cx="5472000" cy="4895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0795940-CFF1-338E-C6DE-7B6EDE5B4358}"/>
              </a:ext>
            </a:extLst>
          </p:cNvPr>
          <p:cNvSpPr>
            <a:spLocks noGrp="1"/>
          </p:cNvSpPr>
          <p:nvPr>
            <p:ph type="ftr" sz="quarter" idx="14"/>
          </p:nvPr>
        </p:nvSpPr>
        <p:spPr/>
        <p:txBody>
          <a:bodyPr/>
          <a:lstStyle/>
          <a:p>
            <a:r>
              <a:rPr lang="en-US"/>
              <a:t>© SAG ARIS GmbH. All rights reserved.</a:t>
            </a:r>
          </a:p>
        </p:txBody>
      </p:sp>
      <p:sp>
        <p:nvSpPr>
          <p:cNvPr id="8" name="Slide Number Placeholder 7">
            <a:extLst>
              <a:ext uri="{FF2B5EF4-FFF2-40B4-BE49-F238E27FC236}">
                <a16:creationId xmlns:a16="http://schemas.microsoft.com/office/drawing/2014/main" id="{412B840B-8270-1AA6-19B1-71E23FC73AE6}"/>
              </a:ext>
            </a:extLst>
          </p:cNvPr>
          <p:cNvSpPr>
            <a:spLocks noGrp="1"/>
          </p:cNvSpPr>
          <p:nvPr>
            <p:ph type="sldNum" sz="quarter" idx="15"/>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697F11F7-7A9E-E49E-C886-B1FD547B381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FFB585D4-A891-AA1A-8C30-17B3B8C310ED}"/>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83924129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3 Content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47960-1146-F72F-3D8D-A723C13CFDEC}"/>
              </a:ext>
            </a:extLst>
          </p:cNvPr>
          <p:cNvSpPr>
            <a:spLocks noGrp="1"/>
          </p:cNvSpPr>
          <p:nvPr>
            <p:ph type="title"/>
          </p:nvPr>
        </p:nvSpPr>
        <p:spPr>
          <a:xfrm>
            <a:off x="550862" y="332712"/>
            <a:ext cx="11088000" cy="360000"/>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543C1026-D429-B46F-DDB7-7589B271F05E}"/>
              </a:ext>
            </a:extLst>
          </p:cNvPr>
          <p:cNvSpPr>
            <a:spLocks noGrp="1"/>
          </p:cNvSpPr>
          <p:nvPr>
            <p:ph sz="quarter" idx="12"/>
          </p:nvPr>
        </p:nvSpPr>
        <p:spPr>
          <a:xfrm>
            <a:off x="550863"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E67F7B8-B11B-C456-A2B3-0BFA3BD4D88B}"/>
              </a:ext>
            </a:extLst>
          </p:cNvPr>
          <p:cNvSpPr>
            <a:spLocks noGrp="1"/>
          </p:cNvSpPr>
          <p:nvPr>
            <p:ph sz="quarter" idx="13"/>
          </p:nvPr>
        </p:nvSpPr>
        <p:spPr>
          <a:xfrm>
            <a:off x="4295800"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FBFE457-DA14-B0B8-91EF-5C34AF08E5D3}"/>
              </a:ext>
            </a:extLst>
          </p:cNvPr>
          <p:cNvSpPr>
            <a:spLocks noGrp="1"/>
          </p:cNvSpPr>
          <p:nvPr>
            <p:ph sz="quarter" idx="14"/>
          </p:nvPr>
        </p:nvSpPr>
        <p:spPr>
          <a:xfrm>
            <a:off x="8040713" y="1196976"/>
            <a:ext cx="3600450" cy="489632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1467242-BFD6-B17B-2A90-1AB3D4B7D2A6}"/>
              </a:ext>
            </a:extLst>
          </p:cNvPr>
          <p:cNvSpPr>
            <a:spLocks noGrp="1"/>
          </p:cNvSpPr>
          <p:nvPr>
            <p:ph type="ftr" sz="quarter" idx="15"/>
          </p:nvPr>
        </p:nvSpPr>
        <p:spPr/>
        <p:txBody>
          <a:bodyPr/>
          <a:lstStyle/>
          <a:p>
            <a:r>
              <a:rPr lang="en-US"/>
              <a:t>© SAG ARIS GmbH. All rights reserved.</a:t>
            </a:r>
          </a:p>
        </p:txBody>
      </p:sp>
      <p:sp>
        <p:nvSpPr>
          <p:cNvPr id="7" name="Slide Number Placeholder 6">
            <a:extLst>
              <a:ext uri="{FF2B5EF4-FFF2-40B4-BE49-F238E27FC236}">
                <a16:creationId xmlns:a16="http://schemas.microsoft.com/office/drawing/2014/main" id="{149F0FD6-8101-C6AE-F464-6167F149E2F8}"/>
              </a:ext>
            </a:extLst>
          </p:cNvPr>
          <p:cNvSpPr>
            <a:spLocks noGrp="1"/>
          </p:cNvSpPr>
          <p:nvPr>
            <p:ph type="sldNum" sz="quarter" idx="16"/>
          </p:nvPr>
        </p:nvSpPr>
        <p:spPr/>
        <p:txBody>
          <a:bodyPr/>
          <a:lstStyle/>
          <a:p>
            <a:fld id="{59C7FD53-A61A-46D7-B725-1FF4E056D6EF}" type="slidenum">
              <a:rPr lang="en-US"/>
              <a:pPr/>
              <a:t>‹#›</a:t>
            </a:fld>
            <a:endParaRPr lang="en-US"/>
          </a:p>
        </p:txBody>
      </p:sp>
      <p:sp>
        <p:nvSpPr>
          <p:cNvPr id="3" name="Subtitle 1">
            <a:extLst>
              <a:ext uri="{FF2B5EF4-FFF2-40B4-BE49-F238E27FC236}">
                <a16:creationId xmlns:a16="http://schemas.microsoft.com/office/drawing/2014/main" id="{70248D15-3C8B-A521-F3E7-5D538FDB9D96}"/>
              </a:ext>
            </a:extLst>
          </p:cNvPr>
          <p:cNvSpPr>
            <a:spLocks noGrp="1"/>
          </p:cNvSpPr>
          <p:nvPr>
            <p:ph type="subTitle" sz="quarter" idx="1"/>
          </p:nvPr>
        </p:nvSpPr>
        <p:spPr>
          <a:xfrm>
            <a:off x="550862" y="707400"/>
            <a:ext cx="11088001" cy="290513"/>
          </a:xfrm>
        </p:spPr>
        <p:txBody>
          <a:bodyPr tIns="50800"/>
          <a:lstStyle>
            <a:lvl1pPr marL="0" indent="0">
              <a:lnSpc>
                <a:spcPct val="100000"/>
              </a:lnSpc>
              <a:spcBef>
                <a:spcPct val="0"/>
              </a:spcBef>
              <a:spcAft>
                <a:spcPts val="765"/>
              </a:spcAft>
              <a:buFontTx/>
              <a:buNone/>
              <a:defRPr b="0" baseline="0">
                <a:solidFill>
                  <a:schemeClr val="tx1"/>
                </a:solidFill>
                <a:latin typeface="+mn-lt"/>
                <a:cs typeface="+mn-cs"/>
              </a:defRPr>
            </a:lvl1pPr>
          </a:lstStyle>
          <a:p>
            <a:pPr lvl="0"/>
            <a:r>
              <a:rPr lang="en-US"/>
              <a:t>Click to edit Master subtitle style</a:t>
            </a:r>
          </a:p>
        </p:txBody>
      </p:sp>
      <p:sp>
        <p:nvSpPr>
          <p:cNvPr id="4" name="Flight Mode" hidden="1">
            <a:extLst>
              <a:ext uri="{FF2B5EF4-FFF2-40B4-BE49-F238E27FC236}">
                <a16:creationId xmlns:a16="http://schemas.microsoft.com/office/drawing/2014/main" id="{B50288FD-600D-FF4C-C65B-24750DE42852}"/>
              </a:ext>
            </a:extLst>
          </p:cNvPr>
          <p:cNvSpPr/>
          <p:nvPr userDrawn="1">
            <p:custDataLst>
              <p:tags r:id="rId1"/>
            </p:custDataLst>
          </p:nvPr>
        </p:nvSpPr>
        <p:spPr>
          <a:xfrm>
            <a:off x="10488000" y="6150600"/>
            <a:ext cx="1182598" cy="514375"/>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lvl="0"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08364711"/>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7" name="Title Placeholder 1">
            <a:extLst>
              <a:ext uri="{FF2B5EF4-FFF2-40B4-BE49-F238E27FC236}">
                <a16:creationId xmlns:a16="http://schemas.microsoft.com/office/drawing/2014/main" id="{CC4185A3-69FC-9E9D-16BF-6F0D256C4DCA}"/>
              </a:ext>
            </a:extLst>
          </p:cNvPr>
          <p:cNvSpPr>
            <a:spLocks noGrp="1"/>
          </p:cNvSpPr>
          <p:nvPr>
            <p:ph type="title"/>
          </p:nvPr>
        </p:nvSpPr>
        <p:spPr>
          <a:xfrm>
            <a:off x="552616" y="332713"/>
            <a:ext cx="11088000" cy="359984"/>
          </a:xfrm>
          <a:prstGeom prst="rect">
            <a:avLst/>
          </a:prstGeom>
        </p:spPr>
        <p:txBody>
          <a:bodyPr vert="horz" lIns="0" tIns="0" rIns="0" bIns="0" rtlCol="0" anchor="t">
            <a:noAutofit/>
          </a:bodyPr>
          <a:lstStyle/>
          <a:p>
            <a:r>
              <a:rPr lang="en-US" dirty="0"/>
              <a:t>Click to edit Master title style</a:t>
            </a:r>
          </a:p>
        </p:txBody>
      </p:sp>
      <p:sp>
        <p:nvSpPr>
          <p:cNvPr id="208" name="Text Placeholder 2">
            <a:extLst>
              <a:ext uri="{FF2B5EF4-FFF2-40B4-BE49-F238E27FC236}">
                <a16:creationId xmlns:a16="http://schemas.microsoft.com/office/drawing/2014/main" id="{759E54D6-7FE0-230E-F2BD-EA8795948775}"/>
              </a:ext>
            </a:extLst>
          </p:cNvPr>
          <p:cNvSpPr>
            <a:spLocks noGrp="1"/>
          </p:cNvSpPr>
          <p:nvPr>
            <p:ph type="body" idx="1"/>
          </p:nvPr>
        </p:nvSpPr>
        <p:spPr>
          <a:xfrm>
            <a:off x="551384" y="1196752"/>
            <a:ext cx="11088000" cy="489654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9" name="Footer Placeholder 4">
            <a:extLst>
              <a:ext uri="{FF2B5EF4-FFF2-40B4-BE49-F238E27FC236}">
                <a16:creationId xmlns:a16="http://schemas.microsoft.com/office/drawing/2014/main" id="{D408FF98-0247-E196-67CE-FE13DF2353F0}"/>
              </a:ext>
            </a:extLst>
          </p:cNvPr>
          <p:cNvSpPr>
            <a:spLocks noGrp="1"/>
          </p:cNvSpPr>
          <p:nvPr>
            <p:ph type="ftr" sz="quarter" idx="3"/>
          </p:nvPr>
        </p:nvSpPr>
        <p:spPr>
          <a:xfrm>
            <a:off x="839416" y="6453336"/>
            <a:ext cx="2520000" cy="144000"/>
          </a:xfrm>
          <a:prstGeom prst="rect">
            <a:avLst/>
          </a:prstGeom>
        </p:spPr>
        <p:txBody>
          <a:bodyPr vert="horz" lIns="0" tIns="0" rIns="0" bIns="0" rtlCol="0" anchor="ctr"/>
          <a:lstStyle>
            <a:lvl1pPr algn="l">
              <a:defRPr sz="600" b="0">
                <a:solidFill>
                  <a:schemeClr val="tx1"/>
                </a:solidFill>
                <a:latin typeface="+mj-lt"/>
              </a:defRPr>
            </a:lvl1pPr>
          </a:lstStyle>
          <a:p>
            <a:r>
              <a:rPr lang="en-US" dirty="0"/>
              <a:t>© SAG ARIS GmbH. All rights reserved.</a:t>
            </a:r>
            <a:endParaRPr lang="en-US" b="0" dirty="0"/>
          </a:p>
        </p:txBody>
      </p:sp>
      <p:sp>
        <p:nvSpPr>
          <p:cNvPr id="210" name="Slide Number Placeholder 5">
            <a:extLst>
              <a:ext uri="{FF2B5EF4-FFF2-40B4-BE49-F238E27FC236}">
                <a16:creationId xmlns:a16="http://schemas.microsoft.com/office/drawing/2014/main" id="{EC6378C0-25F3-4779-A9C5-F1042A307537}"/>
              </a:ext>
            </a:extLst>
          </p:cNvPr>
          <p:cNvSpPr>
            <a:spLocks noGrp="1"/>
          </p:cNvSpPr>
          <p:nvPr>
            <p:ph type="sldNum" sz="quarter" idx="4"/>
          </p:nvPr>
        </p:nvSpPr>
        <p:spPr>
          <a:xfrm>
            <a:off x="551384" y="6453336"/>
            <a:ext cx="288000" cy="144000"/>
          </a:xfrm>
          <a:prstGeom prst="rect">
            <a:avLst/>
          </a:prstGeom>
          <a:noFill/>
        </p:spPr>
        <p:txBody>
          <a:bodyPr vert="horz" lIns="0" tIns="0" rIns="0" bIns="0" rtlCol="0" anchor="ctr"/>
          <a:lstStyle>
            <a:lvl1pPr algn="l">
              <a:defRPr lang="en-US" sz="600" b="0">
                <a:solidFill>
                  <a:schemeClr val="tx1"/>
                </a:solidFill>
                <a:latin typeface="+mj-lt"/>
              </a:defRPr>
            </a:lvl1pPr>
          </a:lstStyle>
          <a:p>
            <a:fld id="{59C7FD53-A61A-46D7-B725-1FF4E056D6EF}" type="slidenum">
              <a:rPr lang="en-US"/>
              <a:pPr/>
              <a:t>‹#›</a:t>
            </a:fld>
            <a:endParaRPr lang="en-US" b="0" dirty="0"/>
          </a:p>
        </p:txBody>
      </p:sp>
      <p:pic>
        <p:nvPicPr>
          <p:cNvPr id="3" name="Graphic 2">
            <a:extLst>
              <a:ext uri="{FF2B5EF4-FFF2-40B4-BE49-F238E27FC236}">
                <a16:creationId xmlns:a16="http://schemas.microsoft.com/office/drawing/2014/main" id="{E3204180-3884-979A-64BD-E14ECBD3D9E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632616" y="6178024"/>
            <a:ext cx="1008000" cy="419328"/>
          </a:xfrm>
          <a:prstGeom prst="rect">
            <a:avLst/>
          </a:prstGeom>
        </p:spPr>
      </p:pic>
      <p:sp>
        <p:nvSpPr>
          <p:cNvPr id="2" name="empower - DO NOT DELETE!!!" hidden="1">
            <a:extLst>
              <a:ext uri="{FF2B5EF4-FFF2-40B4-BE49-F238E27FC236}">
                <a16:creationId xmlns:a16="http://schemas.microsoft.com/office/drawing/2014/main" id="{A2455C2A-0D93-FE70-8792-70CDA9271FE9}"/>
              </a:ext>
            </a:extLst>
          </p:cNvPr>
          <p:cNvSpPr/>
          <p:nvPr>
            <p:custDataLst>
              <p:tags r:id="rId35"/>
            </p:custDataLst>
          </p:nvPr>
        </p:nvSpPr>
        <p:spPr>
          <a:xfrm>
            <a:off x="0" y="0"/>
            <a:ext cx="0" cy="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val="308486507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73"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5" r:id="rId30"/>
    <p:sldLayoutId id="2147483776" r:id="rId31"/>
    <p:sldLayoutId id="2147483777" r:id="rId32"/>
    <p:sldLayoutId id="2147483778" r:id="rId33"/>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0"/>
        </a:spcBef>
        <a:spcAft>
          <a:spcPts val="765"/>
        </a:spcAft>
        <a:buFont typeface="Arial" panose="020B0604020202020204" pitchFamily="34" charset="0"/>
        <a:buNone/>
        <a:defRPr sz="1600" b="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765"/>
        </a:spcAft>
        <a:buFont typeface="Arial" panose="020B0604020202020204" pitchFamily="34" charset="0"/>
        <a:buChar char="•"/>
        <a:tabLst>
          <a:tab pos="0" algn="l"/>
        </a:tabLst>
        <a:defRPr sz="1600" kern="1200">
          <a:solidFill>
            <a:schemeClr val="tx1"/>
          </a:solidFill>
          <a:latin typeface="Crimson Pro (Body)"/>
          <a:ea typeface="+mn-ea"/>
          <a:cs typeface="+mn-cs"/>
        </a:defRPr>
      </a:lvl2pPr>
      <a:lvl3pPr marL="538163" indent="-228600" algn="l" defTabSz="914400" rtl="0" eaLnBrk="1" latinLnBrk="0" hangingPunct="1">
        <a:lnSpc>
          <a:spcPct val="120000"/>
        </a:lnSpc>
        <a:spcBef>
          <a:spcPts val="0"/>
        </a:spcBef>
        <a:spcAft>
          <a:spcPts val="765"/>
        </a:spcAft>
        <a:buFont typeface="Segoe UI" panose="020B0502040204020203" pitchFamily="34" charset="0"/>
        <a:buChar char="‒"/>
        <a:defRPr sz="1400" kern="1200">
          <a:solidFill>
            <a:schemeClr val="tx1"/>
          </a:solidFill>
          <a:latin typeface="Crimson Pro (Body)"/>
          <a:ea typeface="+mn-ea"/>
          <a:cs typeface="+mn-cs"/>
        </a:defRPr>
      </a:lvl3pPr>
      <a:lvl4pPr marL="719138" indent="-152400" algn="l" defTabSz="914400" rtl="0" eaLnBrk="1" latinLnBrk="0" hangingPunct="1">
        <a:lnSpc>
          <a:spcPct val="120000"/>
        </a:lnSpc>
        <a:spcBef>
          <a:spcPts val="0"/>
        </a:spcBef>
        <a:spcAft>
          <a:spcPts val="765"/>
        </a:spcAft>
        <a:buFont typeface="Arial" panose="020B0604020202020204" pitchFamily="34" charset="0"/>
        <a:buChar char="•"/>
        <a:defRPr sz="1400" kern="1200">
          <a:solidFill>
            <a:schemeClr val="tx1"/>
          </a:solidFill>
          <a:latin typeface="Crimson Pro (Body)"/>
          <a:ea typeface="+mn-ea"/>
          <a:cs typeface="+mn-cs"/>
        </a:defRPr>
      </a:lvl4pPr>
      <a:lvl5pPr marL="896938" indent="-144463" algn="l" defTabSz="914400" rtl="0" eaLnBrk="1" latinLnBrk="0" hangingPunct="1">
        <a:lnSpc>
          <a:spcPct val="120000"/>
        </a:lnSpc>
        <a:spcBef>
          <a:spcPts val="0"/>
        </a:spcBef>
        <a:spcAft>
          <a:spcPts val="765"/>
        </a:spcAft>
        <a:buFont typeface="Segoe UI" panose="020B0502040204020203" pitchFamily="34" charset="0"/>
        <a:buChar char="‒"/>
        <a:defRPr sz="1200" kern="1200">
          <a:solidFill>
            <a:schemeClr val="tx1"/>
          </a:solidFill>
          <a:latin typeface="Crimson Pro (Body)"/>
          <a:ea typeface="+mn-ea"/>
          <a:cs typeface="+mn-cs"/>
        </a:defRPr>
      </a:lvl5pPr>
      <a:lvl6pPr marL="1074738" indent="-177800" algn="l" defTabSz="914400" rtl="0" eaLnBrk="1" latinLnBrk="0" hangingPunct="1">
        <a:lnSpc>
          <a:spcPct val="120000"/>
        </a:lnSpc>
        <a:spcBef>
          <a:spcPts val="0"/>
        </a:spcBef>
        <a:spcAft>
          <a:spcPts val="765"/>
        </a:spcAft>
        <a:buFont typeface="Arial" panose="020B0604020202020204" pitchFamily="34" charset="0"/>
        <a:buChar char="•"/>
        <a:defRPr sz="1000" kern="1200">
          <a:solidFill>
            <a:schemeClr val="tx1"/>
          </a:solidFill>
          <a:latin typeface="Crimson Pro (Body)"/>
          <a:ea typeface="+mn-ea"/>
          <a:cs typeface="+mn-cs"/>
        </a:defRPr>
      </a:lvl6pPr>
      <a:lvl7pPr marL="0" marR="0" indent="0" algn="l" defTabSz="914400" rtl="0" eaLnBrk="1" fontAlgn="auto" latinLnBrk="0" hangingPunct="1">
        <a:lnSpc>
          <a:spcPct val="120000"/>
        </a:lnSpc>
        <a:spcBef>
          <a:spcPts val="0"/>
        </a:spcBef>
        <a:spcAft>
          <a:spcPts val="765"/>
        </a:spcAft>
        <a:buClrTx/>
        <a:buSzTx/>
        <a:buFont typeface="Arial" panose="020B0604020202020204" pitchFamily="34" charset="0"/>
        <a:buNone/>
        <a:tabLst/>
        <a:defRPr sz="700" kern="1200">
          <a:solidFill>
            <a:schemeClr val="tx1"/>
          </a:solidFill>
          <a:latin typeface="Crimson Pro (Body)"/>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97">
          <p15:clr>
            <a:srgbClr val="F26B43"/>
          </p15:clr>
        </p15:guide>
        <p15:guide id="2" pos="347">
          <p15:clr>
            <a:srgbClr val="F26B43"/>
          </p15:clr>
        </p15:guide>
        <p15:guide id="3" pos="7333">
          <p15:clr>
            <a:srgbClr val="F26B43"/>
          </p15:clr>
        </p15:guide>
        <p15:guide id="4" pos="846">
          <p15:clr>
            <a:srgbClr val="F26B43"/>
          </p15:clr>
        </p15:guide>
        <p15:guide id="5" pos="937">
          <p15:clr>
            <a:srgbClr val="F26B43"/>
          </p15:clr>
        </p15:guide>
        <p15:guide id="6" pos="1436">
          <p15:clr>
            <a:srgbClr val="F26B43"/>
          </p15:clr>
        </p15:guide>
        <p15:guide id="8" pos="2025">
          <p15:clr>
            <a:srgbClr val="F26B43"/>
          </p15:clr>
        </p15:guide>
        <p15:guide id="9" pos="2115">
          <p15:clr>
            <a:srgbClr val="F26B43"/>
          </p15:clr>
        </p15:guide>
        <p15:guide id="10" pos="2615">
          <p15:clr>
            <a:srgbClr val="F26B43"/>
          </p15:clr>
        </p15:guide>
        <p15:guide id="11" pos="2706">
          <p15:clr>
            <a:srgbClr val="F26B43"/>
          </p15:clr>
        </p15:guide>
        <p15:guide id="12" pos="3205">
          <p15:clr>
            <a:srgbClr val="F26B43"/>
          </p15:clr>
        </p15:guide>
        <p15:guide id="13" pos="3296">
          <p15:clr>
            <a:srgbClr val="F26B43"/>
          </p15:clr>
        </p15:guide>
        <p15:guide id="14" pos="3795">
          <p15:clr>
            <a:srgbClr val="F26B43"/>
          </p15:clr>
        </p15:guide>
        <p15:guide id="15" pos="3885">
          <p15:clr>
            <a:srgbClr val="F26B43"/>
          </p15:clr>
        </p15:guide>
        <p15:guide id="16" pos="4475">
          <p15:clr>
            <a:srgbClr val="F26B43"/>
          </p15:clr>
        </p15:guide>
        <p15:guide id="17" pos="4384">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orient="horz" pos="1706">
          <p15:clr>
            <a:srgbClr val="F26B43"/>
          </p15:clr>
        </p15:guide>
        <p15:guide id="27" orient="horz" pos="1117">
          <p15:clr>
            <a:srgbClr val="F26B43"/>
          </p15:clr>
        </p15:guide>
        <p15:guide id="28" orient="horz" pos="1207">
          <p15:clr>
            <a:srgbClr val="F26B43"/>
          </p15:clr>
        </p15:guide>
        <p15:guide id="29" orient="horz" pos="618">
          <p15:clr>
            <a:srgbClr val="F26B43"/>
          </p15:clr>
        </p15:guide>
        <p15:guide id="30" orient="horz" pos="527">
          <p15:clr>
            <a:srgbClr val="F26B43"/>
          </p15:clr>
        </p15:guide>
        <p15:guide id="31" orient="horz" pos="210">
          <p15:clr>
            <a:srgbClr val="F26B43"/>
          </p15:clr>
        </p15:guide>
        <p15:guide id="32" orient="horz" pos="2296">
          <p15:clr>
            <a:srgbClr val="F26B43"/>
          </p15:clr>
        </p15:guide>
        <p15:guide id="33" orient="horz" pos="2387">
          <p15:clr>
            <a:srgbClr val="F26B43"/>
          </p15:clr>
        </p15:guide>
        <p15:guide id="34" orient="horz" pos="2886">
          <p15:clr>
            <a:srgbClr val="F26B43"/>
          </p15:clr>
        </p15:guide>
        <p15:guide id="35" orient="horz" pos="2976">
          <p15:clr>
            <a:srgbClr val="F26B43"/>
          </p15:clr>
        </p15:guide>
        <p15:guide id="36" orient="horz" pos="3475">
          <p15:clr>
            <a:srgbClr val="F26B43"/>
          </p15:clr>
        </p15:guide>
        <p15:guide id="37" orient="horz" pos="3566">
          <p15:clr>
            <a:srgbClr val="F26B43"/>
          </p15:clr>
        </p15:guide>
        <p15:guide id="38" orient="horz" pos="4065">
          <p15:clr>
            <a:srgbClr val="F26B43"/>
          </p15:clr>
        </p15:guide>
        <p15:guide id="40" orient="horz" pos="4156">
          <p15:clr>
            <a:srgbClr val="F26B43"/>
          </p15:clr>
        </p15:guide>
        <p15:guide id="41" orient="horz" pos="3838">
          <p15:clr>
            <a:srgbClr val="F26B43"/>
          </p15:clr>
        </p15:guide>
        <p15:guide id="42" orient="horz" pos="754">
          <p15:clr>
            <a:srgbClr val="F26B43"/>
          </p15:clr>
        </p15:guide>
        <p15:guide id="43" pos="152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notesSlide" Target="../notesSlides/notesSlide1.xml"/><Relationship Id="rId5" Type="http://schemas.openxmlformats.org/officeDocument/2006/relationships/tags" Target="../tags/tag69.xml"/><Relationship Id="rId10" Type="http://schemas.openxmlformats.org/officeDocument/2006/relationships/slideLayout" Target="../slideLayouts/slideLayout31.xml"/><Relationship Id="rId4" Type="http://schemas.openxmlformats.org/officeDocument/2006/relationships/tags" Target="../tags/tag68.xml"/><Relationship Id="rId9" Type="http://schemas.openxmlformats.org/officeDocument/2006/relationships/tags" Target="../tags/tag73.xml"/></Relationships>
</file>

<file path=ppt/slides/_rels/slide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6.jpeg"/><Relationship Id="rId4"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78.xml"/><Relationship Id="rId1" Type="http://schemas.openxmlformats.org/officeDocument/2006/relationships/tags" Target="../tags/tag77.xml"/><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tags" Target="../tags/tag81.xml"/><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tags" Target="../tags/tag80.xml"/><Relationship Id="rId16" Type="http://schemas.openxmlformats.org/officeDocument/2006/relationships/image" Target="../media/image19.png"/><Relationship Id="rId1" Type="http://schemas.openxmlformats.org/officeDocument/2006/relationships/tags" Target="../tags/tag79.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notesSlide" Target="../notesSlides/notesSlide3.xml"/><Relationship Id="rId15" Type="http://schemas.openxmlformats.org/officeDocument/2006/relationships/image" Target="../media/image18.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slideLayout" Target="../slideLayouts/slideLayout4.xml"/><Relationship Id="rId9" Type="http://schemas.openxmlformats.org/officeDocument/2006/relationships/image" Target="../media/image12.svg"/><Relationship Id="rId1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9AE68-C43B-5B19-6C54-F058C1B1BBFD}"/>
              </a:ext>
            </a:extLst>
          </p:cNvPr>
          <p:cNvSpPr>
            <a:spLocks noGrp="1"/>
          </p:cNvSpPr>
          <p:nvPr>
            <p:ph type="ctrTitle"/>
          </p:nvPr>
        </p:nvSpPr>
        <p:spPr/>
        <p:txBody>
          <a:bodyPr/>
          <a:lstStyle/>
          <a:p>
            <a:r>
              <a:rPr lang="en-US" dirty="0">
                <a:solidFill>
                  <a:srgbClr val="FFFFFF"/>
                </a:solidFill>
                <a:latin typeface="Segoe UI" panose="020B0502040204020203" pitchFamily="34" charset="0"/>
              </a:rPr>
              <a:t>ARIS Simulation</a:t>
            </a:r>
            <a:endParaRPr lang="en-US" dirty="0"/>
          </a:p>
        </p:txBody>
      </p:sp>
      <p:sp>
        <p:nvSpPr>
          <p:cNvPr id="10" name="Subtitle 9">
            <a:extLst>
              <a:ext uri="{FF2B5EF4-FFF2-40B4-BE49-F238E27FC236}">
                <a16:creationId xmlns:a16="http://schemas.microsoft.com/office/drawing/2014/main" id="{22588D7C-D45C-67E0-7B93-9FBA729CB5E5}"/>
              </a:ext>
            </a:extLst>
          </p:cNvPr>
          <p:cNvSpPr>
            <a:spLocks noGrp="1"/>
          </p:cNvSpPr>
          <p:nvPr>
            <p:ph type="subTitle" idx="1"/>
          </p:nvPr>
        </p:nvSpPr>
        <p:spPr/>
        <p:txBody>
          <a:bodyPr/>
          <a:lstStyle/>
          <a:p>
            <a:endParaRPr lang="en-DE"/>
          </a:p>
        </p:txBody>
      </p:sp>
      <p:sp>
        <p:nvSpPr>
          <p:cNvPr id="6" name="Text Placeholder 5">
            <a:extLst>
              <a:ext uri="{FF2B5EF4-FFF2-40B4-BE49-F238E27FC236}">
                <a16:creationId xmlns:a16="http://schemas.microsoft.com/office/drawing/2014/main" id="{88167628-8CB4-0806-46F0-889868C0C0A1}"/>
              </a:ext>
            </a:extLst>
          </p:cNvPr>
          <p:cNvSpPr>
            <a:spLocks noGrp="1"/>
          </p:cNvSpPr>
          <p:nvPr>
            <p:ph type="body" sz="quarter" idx="10"/>
          </p:nvPr>
        </p:nvSpPr>
        <p:spPr/>
        <p:txBody>
          <a:bodyPr/>
          <a:lstStyle/>
          <a:p>
            <a:r>
              <a:rPr lang="en-GB" dirty="0"/>
              <a:t>Martin Scheid – ARIS Product Management</a:t>
            </a:r>
          </a:p>
        </p:txBody>
      </p:sp>
      <p:sp>
        <p:nvSpPr>
          <p:cNvPr id="3" name="Footer Placeholder 2">
            <a:extLst>
              <a:ext uri="{FF2B5EF4-FFF2-40B4-BE49-F238E27FC236}">
                <a16:creationId xmlns:a16="http://schemas.microsoft.com/office/drawing/2014/main" id="{8F7AF720-64E5-1EC1-E606-096A30781759}"/>
              </a:ext>
            </a:extLst>
          </p:cNvPr>
          <p:cNvSpPr>
            <a:spLocks noGrp="1"/>
          </p:cNvSpPr>
          <p:nvPr>
            <p:ph type="ftr" sz="quarter" idx="4294967295"/>
          </p:nvPr>
        </p:nvSpPr>
        <p:spPr>
          <a:xfrm>
            <a:off x="8499475" y="6538913"/>
            <a:ext cx="3692525" cy="98425"/>
          </a:xfrm>
        </p:spPr>
        <p:txBody>
          <a:bodyPr/>
          <a:lstStyle/>
          <a:p>
            <a:r>
              <a:rPr lang="en-US"/>
              <a:t>© SAG ARIS GmbH. All rights reserved.</a:t>
            </a:r>
          </a:p>
        </p:txBody>
      </p:sp>
      <p:sp>
        <p:nvSpPr>
          <p:cNvPr id="4" name="Slide Number Placeholder 3">
            <a:extLst>
              <a:ext uri="{FF2B5EF4-FFF2-40B4-BE49-F238E27FC236}">
                <a16:creationId xmlns:a16="http://schemas.microsoft.com/office/drawing/2014/main" id="{74488B91-9CB7-C4DA-B09A-B479168BA615}"/>
              </a:ext>
            </a:extLst>
          </p:cNvPr>
          <p:cNvSpPr>
            <a:spLocks noGrp="1"/>
          </p:cNvSpPr>
          <p:nvPr>
            <p:ph type="sldNum" sz="quarter" idx="4294967295"/>
          </p:nvPr>
        </p:nvSpPr>
        <p:spPr>
          <a:xfrm>
            <a:off x="0" y="6453188"/>
            <a:ext cx="288925" cy="144462"/>
          </a:xfrm>
        </p:spPr>
        <p:txBody>
          <a:bodyPr/>
          <a:lstStyle/>
          <a:p>
            <a:fld id="{59C7FD53-A61A-46D7-B725-1FF4E056D6EF}" type="slidenum">
              <a:rPr lang="en-US"/>
              <a:pPr/>
              <a:t>1</a:t>
            </a:fld>
            <a:endParaRPr lang="en-US"/>
          </a:p>
        </p:txBody>
      </p:sp>
    </p:spTree>
    <p:extLst>
      <p:ext uri="{BB962C8B-B14F-4D97-AF65-F5344CB8AC3E}">
        <p14:creationId xmlns:p14="http://schemas.microsoft.com/office/powerpoint/2010/main" val="2158972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CCA81E-CC91-4147-0D61-AD8125C53BF2}"/>
              </a:ext>
            </a:extLst>
          </p:cNvPr>
          <p:cNvSpPr>
            <a:spLocks noGrp="1"/>
          </p:cNvSpPr>
          <p:nvPr>
            <p:ph type="ftr" sz="quarter" idx="4294967295"/>
          </p:nvPr>
        </p:nvSpPr>
        <p:spPr>
          <a:xfrm>
            <a:off x="0" y="6453188"/>
            <a:ext cx="2519363" cy="144462"/>
          </a:xfrm>
        </p:spPr>
        <p:txBody>
          <a:bodyPr/>
          <a:lstStyle/>
          <a:p>
            <a:r>
              <a:rPr lang="en-US"/>
              <a:t>© SAG ARIS GmbH. All rights reserved.</a:t>
            </a:r>
            <a:endParaRPr lang="en-US" b="0" dirty="0"/>
          </a:p>
        </p:txBody>
      </p:sp>
      <p:sp>
        <p:nvSpPr>
          <p:cNvPr id="4" name="Slide Number Placeholder 3">
            <a:extLst>
              <a:ext uri="{FF2B5EF4-FFF2-40B4-BE49-F238E27FC236}">
                <a16:creationId xmlns:a16="http://schemas.microsoft.com/office/drawing/2014/main" id="{3EE90B8A-17DA-373A-85F9-2B3614B1804C}"/>
              </a:ext>
            </a:extLst>
          </p:cNvPr>
          <p:cNvSpPr>
            <a:spLocks noGrp="1"/>
          </p:cNvSpPr>
          <p:nvPr>
            <p:ph type="sldNum" sz="quarter" idx="4294967295"/>
          </p:nvPr>
        </p:nvSpPr>
        <p:spPr>
          <a:xfrm>
            <a:off x="0" y="6453188"/>
            <a:ext cx="288925" cy="144462"/>
          </a:xfrm>
        </p:spPr>
        <p:txBody>
          <a:bodyPr/>
          <a:lstStyle/>
          <a:p>
            <a:fld id="{59C7FD53-A61A-46D7-B725-1FF4E056D6EF}" type="slidenum">
              <a:rPr lang="en-US"/>
              <a:pPr/>
              <a:t>10</a:t>
            </a:fld>
            <a:endParaRPr lang="en-US" dirty="0"/>
          </a:p>
        </p:txBody>
      </p:sp>
    </p:spTree>
    <p:extLst>
      <p:ext uri="{BB962C8B-B14F-4D97-AF65-F5344CB8AC3E}">
        <p14:creationId xmlns:p14="http://schemas.microsoft.com/office/powerpoint/2010/main" val="2983214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58">
            <a:extLst>
              <a:ext uri="{FF2B5EF4-FFF2-40B4-BE49-F238E27FC236}">
                <a16:creationId xmlns:a16="http://schemas.microsoft.com/office/drawing/2014/main" id="{3C2C59A6-E8DA-4673-AC72-D2723017B428}"/>
              </a:ext>
            </a:extLst>
          </p:cNvPr>
          <p:cNvSpPr>
            <a:spLocks noGrp="1"/>
          </p:cNvSpPr>
          <p:nvPr>
            <p:ph type="title"/>
          </p:nvPr>
        </p:nvSpPr>
        <p:spPr/>
        <p:txBody>
          <a:bodyPr/>
          <a:lstStyle/>
          <a:p>
            <a:r>
              <a:rPr lang="en-US" dirty="0"/>
              <a:t>ARIS Simulation (2026)</a:t>
            </a:r>
          </a:p>
        </p:txBody>
      </p:sp>
      <p:sp>
        <p:nvSpPr>
          <p:cNvPr id="60" name="Subtitle 59">
            <a:extLst>
              <a:ext uri="{FF2B5EF4-FFF2-40B4-BE49-F238E27FC236}">
                <a16:creationId xmlns:a16="http://schemas.microsoft.com/office/drawing/2014/main" id="{88929881-0CFD-4BDA-B6B8-E0C48D98BC43}"/>
              </a:ext>
            </a:extLst>
          </p:cNvPr>
          <p:cNvSpPr>
            <a:spLocks noGrp="1"/>
          </p:cNvSpPr>
          <p:nvPr>
            <p:ph type="subTitle" sz="quarter" idx="1"/>
          </p:nvPr>
        </p:nvSpPr>
        <p:spPr>
          <a:xfrm>
            <a:off x="550863" y="707400"/>
            <a:ext cx="11278436" cy="279877"/>
          </a:xfrm>
        </p:spPr>
        <p:txBody>
          <a:bodyPr>
            <a:normAutofit lnSpcReduction="10000"/>
          </a:bodyPr>
          <a:lstStyle/>
          <a:p>
            <a:r>
              <a:rPr lang="en-US" dirty="0"/>
              <a:t>Forecast. Validate. Improve. With the new ARIS Simulation</a:t>
            </a:r>
          </a:p>
        </p:txBody>
      </p:sp>
      <p:sp>
        <p:nvSpPr>
          <p:cNvPr id="5" name="Date Placeholder 4">
            <a:extLst>
              <a:ext uri="{FF2B5EF4-FFF2-40B4-BE49-F238E27FC236}">
                <a16:creationId xmlns:a16="http://schemas.microsoft.com/office/drawing/2014/main" id="{3461E3F3-791F-1821-309F-DF9DE592CAA8}"/>
              </a:ext>
            </a:extLst>
          </p:cNvPr>
          <p:cNvSpPr>
            <a:spLocks noGrp="1"/>
          </p:cNvSpPr>
          <p:nvPr>
            <p:ph type="dt" sz="half" idx="10"/>
            <p:custDataLst>
              <p:tags r:id="rId2"/>
            </p:custDataLst>
          </p:nvPr>
        </p:nvSpPr>
        <p:spPr/>
        <p:txBody>
          <a:bodyPr/>
          <a:lstStyle/>
          <a:p>
            <a:r>
              <a:rPr lang="en-US" dirty="0"/>
              <a:t> </a:t>
            </a:r>
          </a:p>
        </p:txBody>
      </p:sp>
      <p:sp>
        <p:nvSpPr>
          <p:cNvPr id="3" name="Footer Placeholder 2">
            <a:extLst>
              <a:ext uri="{FF2B5EF4-FFF2-40B4-BE49-F238E27FC236}">
                <a16:creationId xmlns:a16="http://schemas.microsoft.com/office/drawing/2014/main" id="{0DFB7637-8B97-F773-D790-EF339848059C}"/>
              </a:ext>
            </a:extLst>
          </p:cNvPr>
          <p:cNvSpPr>
            <a:spLocks noGrp="1"/>
          </p:cNvSpPr>
          <p:nvPr>
            <p:ph type="ftr" sz="quarter" idx="11"/>
            <p:custDataLst>
              <p:tags r:id="rId3"/>
            </p:custDataLst>
          </p:nvPr>
        </p:nvSpPr>
        <p:spPr/>
        <p:txBody>
          <a:bodyPr/>
          <a:lstStyle/>
          <a:p>
            <a:r>
              <a:rPr lang="en-US"/>
              <a:t>© 2025 SAG ARIS GmbH. All rights reserved.</a:t>
            </a:r>
          </a:p>
        </p:txBody>
      </p:sp>
      <p:sp>
        <p:nvSpPr>
          <p:cNvPr id="2" name="Slide Number Placeholder 1">
            <a:extLst>
              <a:ext uri="{FF2B5EF4-FFF2-40B4-BE49-F238E27FC236}">
                <a16:creationId xmlns:a16="http://schemas.microsoft.com/office/drawing/2014/main" id="{61BF7DC3-6DDF-249E-3BA2-49E64577B77C}"/>
              </a:ext>
            </a:extLst>
          </p:cNvPr>
          <p:cNvSpPr>
            <a:spLocks noGrp="1"/>
          </p:cNvSpPr>
          <p:nvPr>
            <p:ph type="sldNum" sz="quarter" idx="12"/>
            <p:custDataLst>
              <p:tags r:id="rId4"/>
            </p:custDataLst>
          </p:nvPr>
        </p:nvSpPr>
        <p:spPr/>
        <p:txBody>
          <a:bodyPr/>
          <a:lstStyle/>
          <a:p>
            <a:fld id="{22FF84AA-2C76-4AF1-8502-73D25D47F37C}" type="slidenum">
              <a:rPr lang="en-US" smtClean="0"/>
              <a:pPr/>
              <a:t>2</a:t>
            </a:fld>
            <a:endParaRPr lang="en-US"/>
          </a:p>
        </p:txBody>
      </p:sp>
      <p:sp>
        <p:nvSpPr>
          <p:cNvPr id="62" name="Content Placeholder 61">
            <a:extLst>
              <a:ext uri="{FF2B5EF4-FFF2-40B4-BE49-F238E27FC236}">
                <a16:creationId xmlns:a16="http://schemas.microsoft.com/office/drawing/2014/main" id="{020CECE8-08F2-4E14-8CC7-1A3B9F21BB8F}"/>
              </a:ext>
            </a:extLst>
          </p:cNvPr>
          <p:cNvSpPr>
            <a:spLocks noGrp="1"/>
          </p:cNvSpPr>
          <p:nvPr>
            <p:ph sz="quarter" idx="4294967295"/>
          </p:nvPr>
        </p:nvSpPr>
        <p:spPr>
          <a:xfrm>
            <a:off x="549735" y="1387475"/>
            <a:ext cx="5087478"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lIns="182880" anchor="ctr" anchorCtr="0"/>
          <a:lstStyle/>
          <a:p>
            <a:pPr marL="0" indent="0">
              <a:lnSpc>
                <a:spcPts val="1600"/>
              </a:lnSpc>
              <a:spcBef>
                <a:spcPts val="576"/>
              </a:spcBef>
              <a:buClr>
                <a:schemeClr val="bg1">
                  <a:lumMod val="50000"/>
                </a:schemeClr>
              </a:buClr>
              <a:buNone/>
            </a:pPr>
            <a:r>
              <a:rPr lang="en-US" dirty="0"/>
              <a:t>Simulation of BPMN models directly in the web </a:t>
            </a:r>
          </a:p>
          <a:p>
            <a:pPr marL="0" indent="0">
              <a:lnSpc>
                <a:spcPts val="1600"/>
              </a:lnSpc>
              <a:spcBef>
                <a:spcPts val="576"/>
              </a:spcBef>
              <a:buClr>
                <a:schemeClr val="bg1">
                  <a:lumMod val="50000"/>
                </a:schemeClr>
              </a:buClr>
              <a:buNone/>
            </a:pPr>
            <a:r>
              <a:rPr lang="en-US" dirty="0"/>
              <a:t>without requiring a Java client or external tools</a:t>
            </a:r>
          </a:p>
        </p:txBody>
      </p:sp>
      <p:sp>
        <p:nvSpPr>
          <p:cNvPr id="63" name="Content Placeholder 62">
            <a:extLst>
              <a:ext uri="{FF2B5EF4-FFF2-40B4-BE49-F238E27FC236}">
                <a16:creationId xmlns:a16="http://schemas.microsoft.com/office/drawing/2014/main" id="{D073049C-502E-4935-B933-6328391F3D8A}"/>
              </a:ext>
            </a:extLst>
          </p:cNvPr>
          <p:cNvSpPr>
            <a:spLocks noGrp="1"/>
          </p:cNvSpPr>
          <p:nvPr>
            <p:ph sz="quarter" idx="4294967295"/>
          </p:nvPr>
        </p:nvSpPr>
        <p:spPr>
          <a:xfrm>
            <a:off x="6554788" y="1387475"/>
            <a:ext cx="5086350"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rIns="274320" anchor="ctr" anchorCtr="0"/>
          <a:lstStyle/>
          <a:p>
            <a:pPr marL="0" indent="0" algn="r">
              <a:lnSpc>
                <a:spcPts val="1600"/>
              </a:lnSpc>
              <a:spcBef>
                <a:spcPts val="576"/>
              </a:spcBef>
              <a:buClr>
                <a:srgbClr val="000F1F"/>
              </a:buClr>
              <a:buNone/>
            </a:pPr>
            <a:r>
              <a:rPr lang="en-US" dirty="0"/>
              <a:t>Use real data from ARIS Process Mining to enrich </a:t>
            </a:r>
          </a:p>
          <a:p>
            <a:pPr marL="0" indent="0" algn="r">
              <a:lnSpc>
                <a:spcPts val="1600"/>
              </a:lnSpc>
              <a:spcBef>
                <a:spcPts val="576"/>
              </a:spcBef>
              <a:buClr>
                <a:srgbClr val="000F1F"/>
              </a:buClr>
              <a:buNone/>
            </a:pPr>
            <a:r>
              <a:rPr lang="en-US" dirty="0"/>
              <a:t>simulation scenarios, enabling data-driven </a:t>
            </a:r>
          </a:p>
          <a:p>
            <a:pPr marL="0" indent="0" algn="r">
              <a:lnSpc>
                <a:spcPts val="1600"/>
              </a:lnSpc>
              <a:spcBef>
                <a:spcPts val="576"/>
              </a:spcBef>
              <a:buClr>
                <a:srgbClr val="000F1F"/>
              </a:buClr>
              <a:buNone/>
            </a:pPr>
            <a:r>
              <a:rPr lang="en-US" dirty="0"/>
              <a:t>validation</a:t>
            </a:r>
            <a:endParaRPr lang="en-US" sz="1600" dirty="0"/>
          </a:p>
        </p:txBody>
      </p:sp>
      <p:sp>
        <p:nvSpPr>
          <p:cNvPr id="64" name="Content Placeholder 63">
            <a:extLst>
              <a:ext uri="{FF2B5EF4-FFF2-40B4-BE49-F238E27FC236}">
                <a16:creationId xmlns:a16="http://schemas.microsoft.com/office/drawing/2014/main" id="{7F349FD3-BFF9-413F-BD83-9E96D7617F4A}"/>
              </a:ext>
            </a:extLst>
          </p:cNvPr>
          <p:cNvSpPr>
            <a:spLocks noGrp="1"/>
          </p:cNvSpPr>
          <p:nvPr>
            <p:ph sz="quarter" idx="4294967295"/>
            <p:custDataLst>
              <p:tags r:id="rId5"/>
            </p:custDataLst>
          </p:nvPr>
        </p:nvSpPr>
        <p:spPr>
          <a:xfrm>
            <a:off x="550862" y="3008313"/>
            <a:ext cx="4465018"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lIns="182880" anchor="ctr" anchorCtr="0"/>
          <a:lstStyle/>
          <a:p>
            <a:pPr marL="0" indent="0">
              <a:lnSpc>
                <a:spcPts val="1600"/>
              </a:lnSpc>
              <a:buNone/>
            </a:pPr>
            <a:r>
              <a:rPr lang="en-US" dirty="0"/>
              <a:t>Compare different process scenarios to </a:t>
            </a:r>
          </a:p>
          <a:p>
            <a:pPr marL="0" indent="0">
              <a:lnSpc>
                <a:spcPts val="1600"/>
              </a:lnSpc>
              <a:buNone/>
            </a:pPr>
            <a:r>
              <a:rPr lang="en-US" dirty="0"/>
              <a:t>assess impacts and choose optimal </a:t>
            </a:r>
          </a:p>
          <a:p>
            <a:pPr marL="0" indent="0">
              <a:lnSpc>
                <a:spcPts val="1600"/>
              </a:lnSpc>
              <a:buNone/>
            </a:pPr>
            <a:r>
              <a:rPr lang="en-US" dirty="0"/>
              <a:t>paths for process </a:t>
            </a:r>
            <a:r>
              <a:rPr lang="en-US" dirty="0" err="1"/>
              <a:t>optimisation</a:t>
            </a:r>
            <a:endParaRPr lang="en-US" dirty="0"/>
          </a:p>
        </p:txBody>
      </p:sp>
      <p:sp>
        <p:nvSpPr>
          <p:cNvPr id="65" name="Content Placeholder 64">
            <a:extLst>
              <a:ext uri="{FF2B5EF4-FFF2-40B4-BE49-F238E27FC236}">
                <a16:creationId xmlns:a16="http://schemas.microsoft.com/office/drawing/2014/main" id="{D81CF411-A05C-44AE-826A-381F87B7F960}"/>
              </a:ext>
            </a:extLst>
          </p:cNvPr>
          <p:cNvSpPr>
            <a:spLocks noGrp="1"/>
          </p:cNvSpPr>
          <p:nvPr>
            <p:ph sz="quarter" idx="4294967295"/>
            <p:custDataLst>
              <p:tags r:id="rId6"/>
            </p:custDataLst>
          </p:nvPr>
        </p:nvSpPr>
        <p:spPr>
          <a:xfrm>
            <a:off x="7174993" y="3008313"/>
            <a:ext cx="4466145"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lIns="0" rIns="182880" anchor="ctr" anchorCtr="0"/>
          <a:lstStyle/>
          <a:p>
            <a:pPr marL="0" indent="0" algn="r">
              <a:lnSpc>
                <a:spcPts val="1600"/>
              </a:lnSpc>
              <a:buNone/>
            </a:pPr>
            <a:r>
              <a:rPr lang="en-US" dirty="0"/>
              <a:t>Save simulation outcomes as new or </a:t>
            </a:r>
          </a:p>
          <a:p>
            <a:pPr marL="0" indent="0" algn="r">
              <a:lnSpc>
                <a:spcPts val="1600"/>
              </a:lnSpc>
              <a:buNone/>
            </a:pPr>
            <a:r>
              <a:rPr lang="en-US" dirty="0"/>
              <a:t>enhanced process models for the future </a:t>
            </a:r>
          </a:p>
          <a:p>
            <a:pPr marL="0" indent="0" algn="r">
              <a:lnSpc>
                <a:spcPts val="1600"/>
              </a:lnSpc>
              <a:buNone/>
            </a:pPr>
            <a:r>
              <a:rPr lang="en-US" dirty="0"/>
              <a:t>use or further analysis</a:t>
            </a:r>
          </a:p>
        </p:txBody>
      </p:sp>
      <p:sp>
        <p:nvSpPr>
          <p:cNvPr id="66" name="Content Placeholder 65">
            <a:extLst>
              <a:ext uri="{FF2B5EF4-FFF2-40B4-BE49-F238E27FC236}">
                <a16:creationId xmlns:a16="http://schemas.microsoft.com/office/drawing/2014/main" id="{12AE8D8A-C2E3-4864-9567-0A6F8FFEC4AF}"/>
              </a:ext>
            </a:extLst>
          </p:cNvPr>
          <p:cNvSpPr>
            <a:spLocks noGrp="1"/>
          </p:cNvSpPr>
          <p:nvPr>
            <p:ph sz="quarter" idx="4294967295"/>
            <p:custDataLst>
              <p:tags r:id="rId7"/>
            </p:custDataLst>
          </p:nvPr>
        </p:nvSpPr>
        <p:spPr>
          <a:xfrm>
            <a:off x="550863" y="4627563"/>
            <a:ext cx="5086350"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lIns="182880" anchor="ctr" anchorCtr="0"/>
          <a:lstStyle/>
          <a:p>
            <a:pPr marL="0" indent="0">
              <a:lnSpc>
                <a:spcPts val="1600"/>
              </a:lnSpc>
              <a:buNone/>
            </a:pPr>
            <a:r>
              <a:rPr lang="en-US" dirty="0"/>
              <a:t>Benchmark simulated results against KPIs derived </a:t>
            </a:r>
          </a:p>
          <a:p>
            <a:pPr marL="0" indent="0">
              <a:lnSpc>
                <a:spcPts val="1600"/>
              </a:lnSpc>
              <a:buNone/>
            </a:pPr>
            <a:r>
              <a:rPr lang="en-US" dirty="0"/>
              <a:t>from mining insights to validate improvements</a:t>
            </a:r>
          </a:p>
        </p:txBody>
      </p:sp>
      <p:sp>
        <p:nvSpPr>
          <p:cNvPr id="67" name="Content Placeholder 66">
            <a:extLst>
              <a:ext uri="{FF2B5EF4-FFF2-40B4-BE49-F238E27FC236}">
                <a16:creationId xmlns:a16="http://schemas.microsoft.com/office/drawing/2014/main" id="{CF928E8D-85C1-4A86-A0E7-B58AFFBED85B}"/>
              </a:ext>
            </a:extLst>
          </p:cNvPr>
          <p:cNvSpPr>
            <a:spLocks noGrp="1"/>
          </p:cNvSpPr>
          <p:nvPr>
            <p:ph sz="quarter" idx="4294967295"/>
            <p:custDataLst>
              <p:tags r:id="rId8"/>
            </p:custDataLst>
          </p:nvPr>
        </p:nvSpPr>
        <p:spPr>
          <a:xfrm>
            <a:off x="6554788" y="4627563"/>
            <a:ext cx="5086350" cy="1425575"/>
          </a:xfr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lIns="0" rIns="182880" anchor="ctr" anchorCtr="0"/>
          <a:lstStyle/>
          <a:p>
            <a:pPr marL="0" indent="0" algn="r">
              <a:lnSpc>
                <a:spcPts val="1600"/>
              </a:lnSpc>
              <a:buNone/>
            </a:pPr>
            <a:r>
              <a:rPr lang="en-US" dirty="0"/>
              <a:t>A user-friendly, streamlined simulation setup with </a:t>
            </a:r>
          </a:p>
          <a:p>
            <a:pPr marL="0" indent="0" algn="r">
              <a:lnSpc>
                <a:spcPts val="1600"/>
              </a:lnSpc>
              <a:buNone/>
            </a:pPr>
            <a:r>
              <a:rPr lang="en-US" dirty="0"/>
              <a:t>steps like model check, enrichment, monitoring, </a:t>
            </a:r>
          </a:p>
          <a:p>
            <a:pPr marL="0" indent="0" algn="r">
              <a:lnSpc>
                <a:spcPts val="1600"/>
              </a:lnSpc>
              <a:buNone/>
            </a:pPr>
            <a:r>
              <a:rPr lang="en-US" dirty="0"/>
              <a:t>analysis, and comparison, lowering entry barriers </a:t>
            </a:r>
          </a:p>
          <a:p>
            <a:pPr marL="0" indent="0" algn="r">
              <a:lnSpc>
                <a:spcPts val="1600"/>
              </a:lnSpc>
              <a:buNone/>
            </a:pPr>
            <a:r>
              <a:rPr lang="en-US" dirty="0"/>
              <a:t>for non-experts</a:t>
            </a:r>
          </a:p>
        </p:txBody>
      </p:sp>
      <p:sp>
        <p:nvSpPr>
          <p:cNvPr id="4" name="Rectangle 3">
            <a:extLst>
              <a:ext uri="{FF2B5EF4-FFF2-40B4-BE49-F238E27FC236}">
                <a16:creationId xmlns:a16="http://schemas.microsoft.com/office/drawing/2014/main" id="{0E5164DD-7A12-8AD6-2D7A-F13EAAAB3D82}"/>
              </a:ext>
            </a:extLst>
          </p:cNvPr>
          <p:cNvSpPr/>
          <p:nvPr/>
        </p:nvSpPr>
        <p:spPr>
          <a:xfrm>
            <a:off x="6563971" y="2575786"/>
            <a:ext cx="611022" cy="236640"/>
          </a:xfrm>
          <a:prstGeom prst="rect">
            <a:avLst/>
          </a:prstGeom>
          <a:solidFill>
            <a:schemeClr val="bg2"/>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51116708-449D-E76B-1C83-A4425CECBFC6}"/>
              </a:ext>
            </a:extLst>
          </p:cNvPr>
          <p:cNvSpPr/>
          <p:nvPr/>
        </p:nvSpPr>
        <p:spPr>
          <a:xfrm>
            <a:off x="5025063" y="4626938"/>
            <a:ext cx="611022" cy="115495"/>
          </a:xfrm>
          <a:prstGeom prst="rect">
            <a:avLst/>
          </a:prstGeom>
          <a:solidFill>
            <a:schemeClr val="bg2"/>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Rectangle 8">
            <a:extLst>
              <a:ext uri="{FF2B5EF4-FFF2-40B4-BE49-F238E27FC236}">
                <a16:creationId xmlns:a16="http://schemas.microsoft.com/office/drawing/2014/main" id="{F2C3DB79-0F68-D2A8-E875-AB23035F52FE}"/>
              </a:ext>
            </a:extLst>
          </p:cNvPr>
          <p:cNvSpPr/>
          <p:nvPr/>
        </p:nvSpPr>
        <p:spPr>
          <a:xfrm>
            <a:off x="5025063" y="2575786"/>
            <a:ext cx="611022" cy="236640"/>
          </a:xfrm>
          <a:prstGeom prst="rect">
            <a:avLst/>
          </a:prstGeom>
          <a:solidFill>
            <a:schemeClr val="bg2"/>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Rectangle 5">
            <a:extLst>
              <a:ext uri="{FF2B5EF4-FFF2-40B4-BE49-F238E27FC236}">
                <a16:creationId xmlns:a16="http://schemas.microsoft.com/office/drawing/2014/main" id="{2A343CE3-9460-6942-698E-E1CB5B5AF2AC}"/>
              </a:ext>
            </a:extLst>
          </p:cNvPr>
          <p:cNvSpPr/>
          <p:nvPr/>
        </p:nvSpPr>
        <p:spPr>
          <a:xfrm>
            <a:off x="6563971" y="4636767"/>
            <a:ext cx="611022" cy="106320"/>
          </a:xfrm>
          <a:prstGeom prst="rect">
            <a:avLst/>
          </a:prstGeom>
          <a:solidFill>
            <a:schemeClr val="bg2"/>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1" name="Text Placeholder 60">
            <a:extLst>
              <a:ext uri="{FF2B5EF4-FFF2-40B4-BE49-F238E27FC236}">
                <a16:creationId xmlns:a16="http://schemas.microsoft.com/office/drawing/2014/main" id="{AEA8B493-20E2-4091-B318-4368ED6385C0}"/>
              </a:ext>
            </a:extLst>
          </p:cNvPr>
          <p:cNvSpPr>
            <a:spLocks noGrp="1"/>
          </p:cNvSpPr>
          <p:nvPr>
            <p:ph type="body" sz="quarter" idx="4294967295"/>
            <p:custDataLst>
              <p:tags r:id="rId9"/>
            </p:custDataLst>
          </p:nvPr>
        </p:nvSpPr>
        <p:spPr>
          <a:xfrm>
            <a:off x="5220724" y="2770187"/>
            <a:ext cx="1749425" cy="1749425"/>
          </a:xfrm>
          <a:solidFill>
            <a:schemeClr val="accent2">
              <a:lumMod val="75000"/>
            </a:schemeClr>
          </a:solidFill>
          <a:ln w="400050">
            <a:solidFill>
              <a:schemeClr val="accent2">
                <a:lumMod val="50000"/>
              </a:schemeClr>
            </a:solidFill>
            <a:miter lim="800000"/>
          </a:ln>
        </p:spPr>
        <p:txBody>
          <a:bodyPr anchor="ctr" anchorCtr="0"/>
          <a:lstStyle/>
          <a:p>
            <a:pPr marL="0" indent="0" algn="ctr">
              <a:buNone/>
            </a:pPr>
            <a:r>
              <a:rPr lang="en-US" sz="1800" b="1" dirty="0"/>
              <a:t>ARIS </a:t>
            </a:r>
          </a:p>
          <a:p>
            <a:pPr marL="0" indent="0" algn="ctr">
              <a:buNone/>
            </a:pPr>
            <a:r>
              <a:rPr lang="en-US" sz="1800" b="1" dirty="0"/>
              <a:t>Simulation</a:t>
            </a:r>
          </a:p>
        </p:txBody>
      </p:sp>
      <p:cxnSp>
        <p:nvCxnSpPr>
          <p:cNvPr id="16" name="Straight Arrow Connector 15">
            <a:extLst>
              <a:ext uri="{FF2B5EF4-FFF2-40B4-BE49-F238E27FC236}">
                <a16:creationId xmlns:a16="http://schemas.microsoft.com/office/drawing/2014/main" id="{CDD59039-469C-4867-8ABF-D3F1FD3261A4}"/>
              </a:ext>
            </a:extLst>
          </p:cNvPr>
          <p:cNvCxnSpPr>
            <a:cxnSpLocks/>
          </p:cNvCxnSpPr>
          <p:nvPr/>
        </p:nvCxnSpPr>
        <p:spPr>
          <a:xfrm>
            <a:off x="4346400" y="3720600"/>
            <a:ext cx="486000" cy="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7E96D60-2243-47AE-8F01-80988D13339C}"/>
              </a:ext>
            </a:extLst>
          </p:cNvPr>
          <p:cNvCxnSpPr>
            <a:cxnSpLocks/>
          </p:cNvCxnSpPr>
          <p:nvPr/>
        </p:nvCxnSpPr>
        <p:spPr>
          <a:xfrm flipH="1" flipV="1">
            <a:off x="7359600" y="3720600"/>
            <a:ext cx="486000" cy="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CC36A5E-DEDF-4E1B-8767-1691406F30EB}"/>
              </a:ext>
            </a:extLst>
          </p:cNvPr>
          <p:cNvGrpSpPr/>
          <p:nvPr/>
        </p:nvGrpSpPr>
        <p:grpSpPr>
          <a:xfrm>
            <a:off x="4831648" y="4883602"/>
            <a:ext cx="2527200" cy="388800"/>
            <a:chOff x="5221200" y="5178600"/>
            <a:chExt cx="1749600" cy="388800"/>
          </a:xfrm>
        </p:grpSpPr>
        <p:cxnSp>
          <p:nvCxnSpPr>
            <p:cNvPr id="18" name="Straight Arrow Connector 17">
              <a:extLst>
                <a:ext uri="{FF2B5EF4-FFF2-40B4-BE49-F238E27FC236}">
                  <a16:creationId xmlns:a16="http://schemas.microsoft.com/office/drawing/2014/main" id="{D4563B4C-408D-49DF-A2A9-A53A4C1F2DC3}"/>
                </a:ext>
              </a:extLst>
            </p:cNvPr>
            <p:cNvCxnSpPr>
              <a:cxnSpLocks/>
            </p:cNvCxnSpPr>
            <p:nvPr/>
          </p:nvCxnSpPr>
          <p:spPr>
            <a:xfrm flipH="1" flipV="1">
              <a:off x="6582000" y="5178600"/>
              <a:ext cx="388800" cy="38880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CD7EA13-5144-424F-9CBE-9888B950B3ED}"/>
                </a:ext>
              </a:extLst>
            </p:cNvPr>
            <p:cNvCxnSpPr>
              <a:cxnSpLocks/>
            </p:cNvCxnSpPr>
            <p:nvPr/>
          </p:nvCxnSpPr>
          <p:spPr>
            <a:xfrm flipV="1">
              <a:off x="5221200" y="5178600"/>
              <a:ext cx="388800" cy="38880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F03DB894-E590-4ED7-9C68-0A13A1436B9F}"/>
              </a:ext>
            </a:extLst>
          </p:cNvPr>
          <p:cNvGrpSpPr/>
          <p:nvPr/>
        </p:nvGrpSpPr>
        <p:grpSpPr>
          <a:xfrm rot="10800000">
            <a:off x="4831649" y="2017396"/>
            <a:ext cx="2527199" cy="388800"/>
            <a:chOff x="5221200" y="5178600"/>
            <a:chExt cx="1749600" cy="388800"/>
          </a:xfrm>
        </p:grpSpPr>
        <p:cxnSp>
          <p:nvCxnSpPr>
            <p:cNvPr id="23" name="Straight Arrow Connector 22">
              <a:extLst>
                <a:ext uri="{FF2B5EF4-FFF2-40B4-BE49-F238E27FC236}">
                  <a16:creationId xmlns:a16="http://schemas.microsoft.com/office/drawing/2014/main" id="{40526B9F-0C51-41B6-9B04-53D7CE5C9966}"/>
                </a:ext>
              </a:extLst>
            </p:cNvPr>
            <p:cNvCxnSpPr>
              <a:cxnSpLocks/>
            </p:cNvCxnSpPr>
            <p:nvPr/>
          </p:nvCxnSpPr>
          <p:spPr>
            <a:xfrm flipH="1" flipV="1">
              <a:off x="6582000" y="5178600"/>
              <a:ext cx="388800" cy="38880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7678EE7-93FC-4C1A-AA1B-010DAB3E168E}"/>
                </a:ext>
              </a:extLst>
            </p:cNvPr>
            <p:cNvCxnSpPr>
              <a:cxnSpLocks/>
            </p:cNvCxnSpPr>
            <p:nvPr/>
          </p:nvCxnSpPr>
          <p:spPr>
            <a:xfrm flipV="1">
              <a:off x="5221200" y="5178600"/>
              <a:ext cx="388800" cy="388800"/>
            </a:xfrm>
            <a:prstGeom prst="straightConnector1">
              <a:avLst/>
            </a:prstGeom>
            <a:ln w="28575">
              <a:gradFill>
                <a:gsLst>
                  <a:gs pos="0">
                    <a:schemeClr val="accent2"/>
                  </a:gs>
                  <a:gs pos="65000">
                    <a:schemeClr val="accent1">
                      <a:lumMod val="45000"/>
                      <a:lumOff val="55000"/>
                    </a:schemeClr>
                  </a:gs>
                  <a:gs pos="83000">
                    <a:schemeClr val="accent1">
                      <a:lumMod val="45000"/>
                      <a:lumOff val="55000"/>
                    </a:schemeClr>
                  </a:gs>
                  <a:gs pos="100000">
                    <a:schemeClr val="accent1"/>
                  </a:gs>
                </a:gsLst>
                <a:lin ang="5400000" scaled="1"/>
              </a:gradFill>
              <a:tailEnd type="triangle" w="lg"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538436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B4F11-0FF0-4C2E-D654-C3CF4ADC364D}"/>
              </a:ext>
            </a:extLst>
          </p:cNvPr>
          <p:cNvSpPr>
            <a:spLocks noGrp="1"/>
          </p:cNvSpPr>
          <p:nvPr>
            <p:ph type="title"/>
          </p:nvPr>
        </p:nvSpPr>
        <p:spPr/>
        <p:txBody>
          <a:bodyPr/>
          <a:lstStyle/>
          <a:p>
            <a:r>
              <a:rPr lang="en-US"/>
              <a:t>Benefits of the ARIS Simulation</a:t>
            </a:r>
          </a:p>
        </p:txBody>
      </p:sp>
      <p:sp>
        <p:nvSpPr>
          <p:cNvPr id="3" name="Subtitle 2">
            <a:extLst>
              <a:ext uri="{FF2B5EF4-FFF2-40B4-BE49-F238E27FC236}">
                <a16:creationId xmlns:a16="http://schemas.microsoft.com/office/drawing/2014/main" id="{45D8D340-2708-6590-3262-5B8A84975C73}"/>
              </a:ext>
            </a:extLst>
          </p:cNvPr>
          <p:cNvSpPr>
            <a:spLocks noGrp="1"/>
          </p:cNvSpPr>
          <p:nvPr>
            <p:ph type="subTitle" sz="quarter" idx="1"/>
          </p:nvPr>
        </p:nvSpPr>
        <p:spPr>
          <a:xfrm>
            <a:off x="550863" y="707400"/>
            <a:ext cx="11278436" cy="349615"/>
          </a:xfrm>
        </p:spPr>
        <p:txBody>
          <a:bodyPr/>
          <a:lstStyle/>
          <a:p>
            <a:r>
              <a:rPr lang="en-US"/>
              <a:t>Forecast. Validate. Improve. With the new ARIS Simulation</a:t>
            </a:r>
          </a:p>
        </p:txBody>
      </p:sp>
      <p:sp>
        <p:nvSpPr>
          <p:cNvPr id="4" name="Date Placeholder 3">
            <a:extLst>
              <a:ext uri="{FF2B5EF4-FFF2-40B4-BE49-F238E27FC236}">
                <a16:creationId xmlns:a16="http://schemas.microsoft.com/office/drawing/2014/main" id="{F83271B8-0DCA-8502-4CDC-33D3E13F5C89}"/>
              </a:ext>
            </a:extLst>
          </p:cNvPr>
          <p:cNvSpPr>
            <a:spLocks noGrp="1"/>
          </p:cNvSpPr>
          <p:nvPr>
            <p:ph type="dt" sz="half" idx="10"/>
          </p:nvPr>
        </p:nvSpPr>
        <p:spPr/>
        <p:txBody>
          <a:bodyPr/>
          <a:lstStyle/>
          <a:p>
            <a:r>
              <a:rPr lang="en-US" dirty="0"/>
              <a:t> </a:t>
            </a:r>
          </a:p>
        </p:txBody>
      </p:sp>
      <p:sp>
        <p:nvSpPr>
          <p:cNvPr id="5" name="Footer Placeholder 4">
            <a:extLst>
              <a:ext uri="{FF2B5EF4-FFF2-40B4-BE49-F238E27FC236}">
                <a16:creationId xmlns:a16="http://schemas.microsoft.com/office/drawing/2014/main" id="{0616558E-5DA5-0698-5ABE-79C792A3ED10}"/>
              </a:ext>
            </a:extLst>
          </p:cNvPr>
          <p:cNvSpPr>
            <a:spLocks noGrp="1"/>
          </p:cNvSpPr>
          <p:nvPr>
            <p:ph type="ftr" sz="quarter" idx="11"/>
          </p:nvPr>
        </p:nvSpPr>
        <p:spPr/>
        <p:txBody>
          <a:bodyPr/>
          <a:lstStyle/>
          <a:p>
            <a:r>
              <a:rPr lang="en-US"/>
              <a:t>© 2025 SAG ARIS GmbH. All rights reserved.</a:t>
            </a:r>
          </a:p>
        </p:txBody>
      </p:sp>
      <p:sp>
        <p:nvSpPr>
          <p:cNvPr id="6" name="Slide Number Placeholder 5">
            <a:extLst>
              <a:ext uri="{FF2B5EF4-FFF2-40B4-BE49-F238E27FC236}">
                <a16:creationId xmlns:a16="http://schemas.microsoft.com/office/drawing/2014/main" id="{86D7B2ED-3799-5D8A-6E4B-68E1E52DAAB6}"/>
              </a:ext>
            </a:extLst>
          </p:cNvPr>
          <p:cNvSpPr>
            <a:spLocks noGrp="1"/>
          </p:cNvSpPr>
          <p:nvPr>
            <p:ph type="sldNum" sz="quarter" idx="12"/>
          </p:nvPr>
        </p:nvSpPr>
        <p:spPr/>
        <p:txBody>
          <a:bodyPr/>
          <a:lstStyle/>
          <a:p>
            <a:fld id="{22FF84AA-2C76-4AF1-8502-73D25D47F37C}" type="slidenum">
              <a:rPr lang="en-US" noProof="0" smtClean="0"/>
              <a:pPr/>
              <a:t>3</a:t>
            </a:fld>
            <a:endParaRPr lang="en-US" noProof="0"/>
          </a:p>
        </p:txBody>
      </p:sp>
      <p:sp>
        <p:nvSpPr>
          <p:cNvPr id="7" name="Text Placeholder 9">
            <a:extLst>
              <a:ext uri="{FF2B5EF4-FFF2-40B4-BE49-F238E27FC236}">
                <a16:creationId xmlns:a16="http://schemas.microsoft.com/office/drawing/2014/main" id="{3156C07A-BF23-E1A2-6887-9B3526EBBF7A}"/>
              </a:ext>
            </a:extLst>
          </p:cNvPr>
          <p:cNvSpPr txBox="1">
            <a:spLocks/>
          </p:cNvSpPr>
          <p:nvPr>
            <p:custDataLst>
              <p:tags r:id="rId1"/>
            </p:custDataLst>
          </p:nvPr>
        </p:nvSpPr>
        <p:spPr>
          <a:xfrm>
            <a:off x="6269102" y="1483913"/>
            <a:ext cx="5371514" cy="1224000"/>
          </a:xfrm>
          <a:prstGeom prst="rect">
            <a:avLst/>
          </a:prstGeo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vert="horz" wrap="square" lIns="72000" tIns="97200" rIns="72000" bIns="97200" rtlCol="0" anchor="ctr" anchorCtr="0">
            <a:noAutofit/>
          </a:bodyPr>
          <a:lstStyle>
            <a:defPPr>
              <a:defRPr lang="en-US"/>
            </a:defPPr>
            <a:lvl1pPr algn="ctr">
              <a:defRPr sz="1600" baseline="0">
                <a:solidFill>
                  <a:srgbClr val="E7EBEE"/>
                </a:solidFill>
                <a:latin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op-tier user experience featuring integrated Project Management for the Simulation Project. Allowing fast redesign and innovation cycles</a:t>
            </a:r>
          </a:p>
        </p:txBody>
      </p:sp>
      <p:sp>
        <p:nvSpPr>
          <p:cNvPr id="8" name="Text Placeholder 10">
            <a:extLst>
              <a:ext uri="{FF2B5EF4-FFF2-40B4-BE49-F238E27FC236}">
                <a16:creationId xmlns:a16="http://schemas.microsoft.com/office/drawing/2014/main" id="{BF5CC0E3-0109-9197-C877-B66044384146}"/>
              </a:ext>
            </a:extLst>
          </p:cNvPr>
          <p:cNvSpPr txBox="1">
            <a:spLocks/>
          </p:cNvSpPr>
          <p:nvPr>
            <p:custDataLst>
              <p:tags r:id="rId2"/>
            </p:custDataLst>
          </p:nvPr>
        </p:nvSpPr>
        <p:spPr>
          <a:xfrm>
            <a:off x="6269102" y="3072231"/>
            <a:ext cx="5371514" cy="1224000"/>
          </a:xfrm>
          <a:prstGeom prst="rect">
            <a:avLst/>
          </a:prstGeo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vert="horz" wrap="square" lIns="72000" tIns="97200" rIns="72000" bIns="97200" rtlCol="0" anchor="ctr" anchorCtr="0">
            <a:noAutofit/>
          </a:bodyPr>
          <a:lstStyle>
            <a:defPPr>
              <a:defRPr lang="en-US"/>
            </a:defPPr>
            <a:lvl1pPr algn="ctr">
              <a:defRPr sz="1600" baseline="0">
                <a:solidFill>
                  <a:srgbClr val="E7EBEE"/>
                </a:solidFill>
                <a:latin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Enhanced time to value: Quicker and more comprehensive insights through integration with ARIS Process Mining</a:t>
            </a:r>
          </a:p>
        </p:txBody>
      </p:sp>
      <p:sp>
        <p:nvSpPr>
          <p:cNvPr id="9" name="Text Placeholder 11">
            <a:extLst>
              <a:ext uri="{FF2B5EF4-FFF2-40B4-BE49-F238E27FC236}">
                <a16:creationId xmlns:a16="http://schemas.microsoft.com/office/drawing/2014/main" id="{F168A028-63ED-2AAC-5DA0-5EBD4E510681}"/>
              </a:ext>
            </a:extLst>
          </p:cNvPr>
          <p:cNvSpPr txBox="1">
            <a:spLocks/>
          </p:cNvSpPr>
          <p:nvPr>
            <p:custDataLst>
              <p:tags r:id="rId3"/>
            </p:custDataLst>
          </p:nvPr>
        </p:nvSpPr>
        <p:spPr>
          <a:xfrm>
            <a:off x="6269102" y="4660550"/>
            <a:ext cx="5371514" cy="1224000"/>
          </a:xfrm>
          <a:prstGeom prst="rect">
            <a:avLst/>
          </a:prstGeom>
          <a:noFill/>
          <a:ln w="41275">
            <a:gradFill>
              <a:gsLst>
                <a:gs pos="0">
                  <a:schemeClr val="accent2"/>
                </a:gs>
                <a:gs pos="74000">
                  <a:schemeClr val="accent1">
                    <a:lumMod val="45000"/>
                    <a:lumOff val="55000"/>
                  </a:schemeClr>
                </a:gs>
                <a:gs pos="83000">
                  <a:schemeClr val="accent1">
                    <a:lumMod val="45000"/>
                    <a:lumOff val="55000"/>
                  </a:schemeClr>
                </a:gs>
                <a:gs pos="100000">
                  <a:schemeClr val="accent1"/>
                </a:gs>
              </a:gsLst>
              <a:lin ang="5400000" scaled="1"/>
            </a:gradFill>
          </a:ln>
        </p:spPr>
        <p:txBody>
          <a:bodyPr vert="horz" wrap="square" lIns="72000" tIns="97200" rIns="72000" bIns="97200" rtlCol="0" anchor="ctr" anchorCtr="0">
            <a:noAutofit/>
          </a:bodyPr>
          <a:lstStyle>
            <a:defPPr>
              <a:defRPr lang="en-US"/>
            </a:defPPr>
            <a:lvl1pPr algn="ctr">
              <a:defRPr sz="1600" baseline="0">
                <a:solidFill>
                  <a:srgbClr val="E7EBEE"/>
                </a:solidFill>
                <a:latin typeface="Segoe UI" panose="020B0502040204020203" pitchFamily="34" charset="0"/>
                <a:cs typeface="Segoe UI" panose="020B0502040204020203" pitchFamily="34" charset="0"/>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SzPct val="125000"/>
              <a:buFont typeface="Arial" panose="020B0604020202020204" pitchFamily="34" charset="0"/>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00000"/>
              <a:buFont typeface="Segoe UI" panose="020B0502040204020203" pitchFamily="34" charset="0"/>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a:lstStyle>
          <a:p>
            <a:r>
              <a:rPr lang="en-US"/>
              <a:t>Leverage the ARIS model repository to reuse, enhance, and confidently drive process improvement projects - without the guesswork</a:t>
            </a:r>
          </a:p>
        </p:txBody>
      </p:sp>
      <p:pic>
        <p:nvPicPr>
          <p:cNvPr id="13" name="Picture 12" descr="Human eye seen through transparent digital chart">
            <a:extLst>
              <a:ext uri="{FF2B5EF4-FFF2-40B4-BE49-F238E27FC236}">
                <a16:creationId xmlns:a16="http://schemas.microsoft.com/office/drawing/2014/main" id="{624A0B81-A3D4-2B22-5E6B-D58A29C93FDC}"/>
              </a:ext>
            </a:extLst>
          </p:cNvPr>
          <p:cNvPicPr>
            <a:picLocks noChangeAspect="1"/>
          </p:cNvPicPr>
          <p:nvPr/>
        </p:nvPicPr>
        <p:blipFill>
          <a:blip r:embed="rId5">
            <a:extLst>
              <a:ext uri="{28A0092B-C50C-407E-A947-70E740481C1C}">
                <a14:useLocalDpi xmlns:a14="http://schemas.microsoft.com/office/drawing/2010/main" val="0"/>
              </a:ext>
            </a:extLst>
          </a:blip>
          <a:srcRect l="3869" r="26381"/>
          <a:stretch>
            <a:fillRect/>
          </a:stretch>
        </p:blipFill>
        <p:spPr>
          <a:xfrm>
            <a:off x="550863" y="1483913"/>
            <a:ext cx="5371514" cy="4400637"/>
          </a:xfrm>
          <a:prstGeom prst="rect">
            <a:avLst/>
          </a:prstGeom>
        </p:spPr>
      </p:pic>
    </p:spTree>
    <p:extLst>
      <p:ext uri="{BB962C8B-B14F-4D97-AF65-F5344CB8AC3E}">
        <p14:creationId xmlns:p14="http://schemas.microsoft.com/office/powerpoint/2010/main" val="2856162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AC92882-F2BA-DA4C-B28B-4F12FF98A8C4}"/>
              </a:ext>
            </a:extLst>
          </p:cNvPr>
          <p:cNvSpPr>
            <a:spLocks noGrp="1"/>
          </p:cNvSpPr>
          <p:nvPr>
            <p:ph type="title"/>
          </p:nvPr>
        </p:nvSpPr>
        <p:spPr/>
        <p:txBody>
          <a:bodyPr/>
          <a:lstStyle/>
          <a:p>
            <a:r>
              <a:rPr lang="en-US"/>
              <a:t>Use Case:</a:t>
            </a:r>
            <a:br>
              <a:rPr lang="en-US"/>
            </a:br>
            <a:r>
              <a:rPr lang="en-US"/>
              <a:t>Processing of incoming invoices</a:t>
            </a:r>
          </a:p>
        </p:txBody>
      </p:sp>
      <p:sp>
        <p:nvSpPr>
          <p:cNvPr id="3" name="Date Placeholder 2">
            <a:extLst>
              <a:ext uri="{FF2B5EF4-FFF2-40B4-BE49-F238E27FC236}">
                <a16:creationId xmlns:a16="http://schemas.microsoft.com/office/drawing/2014/main" id="{DF13A28D-A2C5-87F1-2FDB-A16564BD063A}"/>
              </a:ext>
            </a:extLst>
          </p:cNvPr>
          <p:cNvSpPr>
            <a:spLocks noGrp="1"/>
          </p:cNvSpPr>
          <p:nvPr>
            <p:ph type="dt" sz="half" idx="10"/>
          </p:nvPr>
        </p:nvSpPr>
        <p:spPr/>
        <p:txBody>
          <a:bodyPr/>
          <a:lstStyle/>
          <a:p>
            <a:r>
              <a:rPr lang="en-US" dirty="0"/>
              <a:t> </a:t>
            </a:r>
          </a:p>
        </p:txBody>
      </p:sp>
      <p:sp>
        <p:nvSpPr>
          <p:cNvPr id="4" name="Footer Placeholder 3">
            <a:extLst>
              <a:ext uri="{FF2B5EF4-FFF2-40B4-BE49-F238E27FC236}">
                <a16:creationId xmlns:a16="http://schemas.microsoft.com/office/drawing/2014/main" id="{DA776836-B7FD-0015-BBC2-E8ECC034654E}"/>
              </a:ext>
            </a:extLst>
          </p:cNvPr>
          <p:cNvSpPr>
            <a:spLocks noGrp="1"/>
          </p:cNvSpPr>
          <p:nvPr>
            <p:ph type="ftr" sz="quarter" idx="11"/>
          </p:nvPr>
        </p:nvSpPr>
        <p:spPr/>
        <p:txBody>
          <a:bodyPr/>
          <a:lstStyle/>
          <a:p>
            <a:r>
              <a:rPr lang="en-US"/>
              <a:t>© 2025 SAG ARIS GmbH. All rights reserved.</a:t>
            </a:r>
          </a:p>
        </p:txBody>
      </p:sp>
      <p:sp>
        <p:nvSpPr>
          <p:cNvPr id="5" name="Slide Number Placeholder 4">
            <a:extLst>
              <a:ext uri="{FF2B5EF4-FFF2-40B4-BE49-F238E27FC236}">
                <a16:creationId xmlns:a16="http://schemas.microsoft.com/office/drawing/2014/main" id="{D562C5F1-55C3-1074-2AC7-324DFA1E7EF6}"/>
              </a:ext>
            </a:extLst>
          </p:cNvPr>
          <p:cNvSpPr>
            <a:spLocks noGrp="1"/>
          </p:cNvSpPr>
          <p:nvPr>
            <p:ph type="sldNum" sz="quarter" idx="12"/>
          </p:nvPr>
        </p:nvSpPr>
        <p:spPr/>
        <p:txBody>
          <a:bodyPr/>
          <a:lstStyle/>
          <a:p>
            <a:fld id="{22FF84AA-2C76-4AF1-8502-73D25D47F37C}" type="slidenum">
              <a:rPr lang="en-US" noProof="0" smtClean="0"/>
              <a:pPr/>
              <a:t>4</a:t>
            </a:fld>
            <a:endParaRPr lang="en-US" noProof="0"/>
          </a:p>
        </p:txBody>
      </p:sp>
    </p:spTree>
    <p:extLst>
      <p:ext uri="{BB962C8B-B14F-4D97-AF65-F5344CB8AC3E}">
        <p14:creationId xmlns:p14="http://schemas.microsoft.com/office/powerpoint/2010/main" val="211700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C6FE3-E13C-090E-B4DA-D3811F18C894}"/>
              </a:ext>
            </a:extLst>
          </p:cNvPr>
          <p:cNvSpPr>
            <a:spLocks noGrp="1"/>
          </p:cNvSpPr>
          <p:nvPr>
            <p:ph type="title"/>
          </p:nvPr>
        </p:nvSpPr>
        <p:spPr/>
        <p:txBody>
          <a:bodyPr/>
          <a:lstStyle/>
          <a:p>
            <a:r>
              <a:rPr lang="en-US"/>
              <a:t>Use Case: Evidence-Based Automation Choice</a:t>
            </a:r>
            <a:endParaRPr lang="en-DE"/>
          </a:p>
        </p:txBody>
      </p:sp>
      <p:sp>
        <p:nvSpPr>
          <p:cNvPr id="3" name="Subtitle 2">
            <a:extLst>
              <a:ext uri="{FF2B5EF4-FFF2-40B4-BE49-F238E27FC236}">
                <a16:creationId xmlns:a16="http://schemas.microsoft.com/office/drawing/2014/main" id="{1F31295C-6800-C0AF-8ED3-F04739BD0577}"/>
              </a:ext>
            </a:extLst>
          </p:cNvPr>
          <p:cNvSpPr>
            <a:spLocks noGrp="1"/>
          </p:cNvSpPr>
          <p:nvPr>
            <p:ph type="subTitle" sz="quarter" idx="1"/>
          </p:nvPr>
        </p:nvSpPr>
        <p:spPr>
          <a:xfrm>
            <a:off x="550862" y="707400"/>
            <a:ext cx="11278437" cy="280527"/>
          </a:xfrm>
        </p:spPr>
        <p:txBody>
          <a:bodyPr/>
          <a:lstStyle/>
          <a:p>
            <a:r>
              <a:rPr lang="en-US" dirty="0"/>
              <a:t>Overview</a:t>
            </a:r>
            <a:endParaRPr lang="en-DE" dirty="0"/>
          </a:p>
        </p:txBody>
      </p:sp>
      <p:sp>
        <p:nvSpPr>
          <p:cNvPr id="4" name="Content Placeholder 3">
            <a:extLst>
              <a:ext uri="{FF2B5EF4-FFF2-40B4-BE49-F238E27FC236}">
                <a16:creationId xmlns:a16="http://schemas.microsoft.com/office/drawing/2014/main" id="{4153E7CF-A80E-C89B-4717-B342ED562363}"/>
              </a:ext>
            </a:extLst>
          </p:cNvPr>
          <p:cNvSpPr>
            <a:spLocks noGrp="1"/>
          </p:cNvSpPr>
          <p:nvPr>
            <p:ph sz="quarter" idx="21"/>
          </p:nvPr>
        </p:nvSpPr>
        <p:spPr>
          <a:xfrm>
            <a:off x="550863" y="1387800"/>
            <a:ext cx="11089754" cy="4665663"/>
          </a:xfrm>
        </p:spPr>
        <p:txBody>
          <a:bodyPr/>
          <a:lstStyle/>
          <a:p>
            <a:pPr marL="0" indent="0">
              <a:buNone/>
            </a:pPr>
            <a:r>
              <a:rPr lang="en-US" dirty="0"/>
              <a:t>ARIS Simulation gives customers a decision-grade way to choose the right redesign path before they invest. Instead of debating opinions about manual improvement vs. RPA vs. agentic AI, teams can run comparable scenarios on the same process model and quantify outcomes under real-world constraints like demand peaks, resource capacity, exception rates, and compliance controls.</a:t>
            </a:r>
          </a:p>
          <a:p>
            <a:pPr marL="0" indent="0">
              <a:buNone/>
            </a:pPr>
            <a:r>
              <a:rPr lang="en-US" dirty="0"/>
              <a:t>In practice, customers model the as-is process, define three realistic to-be variants, and enrich them with operational and cost assumptions. ARIS Simulation then predicts cycle time, cost per case, backlog risk, and sensitivity to volume spikes. The result is a clear, defensible recommendation for where manual simplification is sufficient, where RPA delivers fast ROI, and where agentic AI adds differentiated value for exception-heavy or non-deterministic work—while making governance requirements explicit.</a:t>
            </a:r>
          </a:p>
          <a:p>
            <a:pPr marL="0" indent="0">
              <a:buNone/>
            </a:pPr>
            <a:r>
              <a:rPr lang="en-US" dirty="0"/>
              <a:t>This positions ARIS Simulation as the neutral “evidence layer” across automation choices: it reduces investment risk, accelerates stakeholder alignment, and turns redesign decisions into measurable, board-ready business cases.</a:t>
            </a:r>
          </a:p>
          <a:p>
            <a:endParaRPr lang="en-DE" dirty="0"/>
          </a:p>
        </p:txBody>
      </p:sp>
      <p:sp>
        <p:nvSpPr>
          <p:cNvPr id="5" name="Date Placeholder 4">
            <a:extLst>
              <a:ext uri="{FF2B5EF4-FFF2-40B4-BE49-F238E27FC236}">
                <a16:creationId xmlns:a16="http://schemas.microsoft.com/office/drawing/2014/main" id="{5E5EF1C3-9BE4-0598-BF16-AF50A28193D8}"/>
              </a:ext>
            </a:extLst>
          </p:cNvPr>
          <p:cNvSpPr>
            <a:spLocks noGrp="1"/>
          </p:cNvSpPr>
          <p:nvPr>
            <p:ph type="dt" sz="half" idx="22"/>
          </p:nvPr>
        </p:nvSpPr>
        <p:spPr/>
        <p:txBody>
          <a:bodyPr/>
          <a:lstStyle/>
          <a:p>
            <a:r>
              <a:rPr lang="en-US" dirty="0"/>
              <a:t> </a:t>
            </a:r>
          </a:p>
        </p:txBody>
      </p:sp>
      <p:sp>
        <p:nvSpPr>
          <p:cNvPr id="6" name="Footer Placeholder 5">
            <a:extLst>
              <a:ext uri="{FF2B5EF4-FFF2-40B4-BE49-F238E27FC236}">
                <a16:creationId xmlns:a16="http://schemas.microsoft.com/office/drawing/2014/main" id="{A9848207-757A-BDE2-5F6B-7B443723E7B4}"/>
              </a:ext>
            </a:extLst>
          </p:cNvPr>
          <p:cNvSpPr>
            <a:spLocks noGrp="1"/>
          </p:cNvSpPr>
          <p:nvPr>
            <p:ph type="ftr" sz="quarter" idx="23"/>
          </p:nvPr>
        </p:nvSpPr>
        <p:spPr/>
        <p:txBody>
          <a:bodyPr/>
          <a:lstStyle/>
          <a:p>
            <a:r>
              <a:rPr lang="en-US"/>
              <a:t>© 2025 SAG ARIS GmbH. All rights reserved.</a:t>
            </a:r>
          </a:p>
        </p:txBody>
      </p:sp>
      <p:sp>
        <p:nvSpPr>
          <p:cNvPr id="7" name="Slide Number Placeholder 6">
            <a:extLst>
              <a:ext uri="{FF2B5EF4-FFF2-40B4-BE49-F238E27FC236}">
                <a16:creationId xmlns:a16="http://schemas.microsoft.com/office/drawing/2014/main" id="{F4F033E7-9AEA-B065-0928-97AA463951A3}"/>
              </a:ext>
            </a:extLst>
          </p:cNvPr>
          <p:cNvSpPr>
            <a:spLocks noGrp="1"/>
          </p:cNvSpPr>
          <p:nvPr>
            <p:ph type="sldNum" sz="quarter" idx="24"/>
          </p:nvPr>
        </p:nvSpPr>
        <p:spPr/>
        <p:txBody>
          <a:bodyPr/>
          <a:lstStyle/>
          <a:p>
            <a:fld id="{22FF84AA-2C76-4AF1-8502-73D25D47F37C}" type="slidenum">
              <a:rPr lang="en-US" noProof="0" smtClean="0"/>
              <a:pPr/>
              <a:t>5</a:t>
            </a:fld>
            <a:endParaRPr lang="en-US" noProof="0"/>
          </a:p>
        </p:txBody>
      </p:sp>
    </p:spTree>
    <p:extLst>
      <p:ext uri="{BB962C8B-B14F-4D97-AF65-F5344CB8AC3E}">
        <p14:creationId xmlns:p14="http://schemas.microsoft.com/office/powerpoint/2010/main" val="3159054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2C6C-F2F4-65BD-BCAD-9027E2B57297}"/>
              </a:ext>
            </a:extLst>
          </p:cNvPr>
          <p:cNvSpPr>
            <a:spLocks noGrp="1"/>
          </p:cNvSpPr>
          <p:nvPr>
            <p:ph type="title"/>
          </p:nvPr>
        </p:nvSpPr>
        <p:spPr/>
        <p:txBody>
          <a:bodyPr/>
          <a:lstStyle/>
          <a:p>
            <a:r>
              <a:rPr lang="en-US"/>
              <a:t>Use Case: Evidence-Based Automation Choice</a:t>
            </a:r>
            <a:br>
              <a:rPr lang="en-US"/>
            </a:br>
            <a:endParaRPr lang="en-DE"/>
          </a:p>
        </p:txBody>
      </p:sp>
      <p:sp>
        <p:nvSpPr>
          <p:cNvPr id="3" name="Subtitle 2">
            <a:extLst>
              <a:ext uri="{FF2B5EF4-FFF2-40B4-BE49-F238E27FC236}">
                <a16:creationId xmlns:a16="http://schemas.microsoft.com/office/drawing/2014/main" id="{811A0E79-A604-685E-C07C-1E72E63520DD}"/>
              </a:ext>
            </a:extLst>
          </p:cNvPr>
          <p:cNvSpPr>
            <a:spLocks noGrp="1"/>
          </p:cNvSpPr>
          <p:nvPr>
            <p:ph type="subTitle" sz="quarter" idx="1"/>
          </p:nvPr>
        </p:nvSpPr>
        <p:spPr>
          <a:xfrm>
            <a:off x="551384" y="707400"/>
            <a:ext cx="11277916" cy="273675"/>
          </a:xfrm>
        </p:spPr>
        <p:txBody>
          <a:bodyPr/>
          <a:lstStyle/>
          <a:p>
            <a:r>
              <a:rPr lang="en-US" dirty="0"/>
              <a:t>Use Case Baseline</a:t>
            </a:r>
            <a:endParaRPr lang="en-DE" dirty="0"/>
          </a:p>
        </p:txBody>
      </p:sp>
      <p:sp>
        <p:nvSpPr>
          <p:cNvPr id="4" name="Content Placeholder 3">
            <a:extLst>
              <a:ext uri="{FF2B5EF4-FFF2-40B4-BE49-F238E27FC236}">
                <a16:creationId xmlns:a16="http://schemas.microsoft.com/office/drawing/2014/main" id="{C27B84F6-B28E-87DC-4C6E-90DF4E666CE8}"/>
              </a:ext>
            </a:extLst>
          </p:cNvPr>
          <p:cNvSpPr>
            <a:spLocks noGrp="1"/>
          </p:cNvSpPr>
          <p:nvPr>
            <p:ph sz="quarter" idx="21"/>
          </p:nvPr>
        </p:nvSpPr>
        <p:spPr>
          <a:xfrm>
            <a:off x="551384" y="1387800"/>
            <a:ext cx="11089754" cy="4665663"/>
          </a:xfrm>
        </p:spPr>
        <p:txBody>
          <a:bodyPr/>
          <a:lstStyle>
            <a:lvl1pPr>
              <a:buFont typeface="Wingdings" panose="05000000000000000000" pitchFamily="2" charset="2"/>
              <a:buChar char="§"/>
            </a:lvl1pPr>
            <a:lvl2pPr>
              <a:buClr>
                <a:schemeClr val="tx1"/>
              </a:buClr>
              <a:buSzPct val="125000"/>
              <a:buFont typeface="Arial" panose="020B0604020202020204" pitchFamily="34" charset="0"/>
              <a:buChar char="•"/>
            </a:lvl2pPr>
            <a:lvl3pPr>
              <a:buClr>
                <a:schemeClr val="tx1"/>
              </a:buClr>
              <a:buSzPct val="125000"/>
              <a:buFont typeface="Arial" panose="020B0604020202020204" pitchFamily="34" charset="0"/>
              <a:buChar char="•"/>
            </a:lvl3pPr>
            <a:lvl4pPr>
              <a:buClr>
                <a:schemeClr val="tx1"/>
              </a:buClr>
              <a:buFont typeface="Symbol" panose="05050102010706020507" pitchFamily="18" charset="2"/>
              <a:buChar char=""/>
            </a:lvl4pPr>
            <a:lvl5pPr>
              <a:buSzPct val="100000"/>
              <a:buFont typeface="Segoe UI" panose="020B0502040204020203" pitchFamily="34" charset="0"/>
              <a:buChar char="•"/>
            </a:lvl5pPr>
            <a:lvl6pPr>
              <a:buFont typeface="+mj-lt"/>
              <a:buAutoNum type="arabicPeriod"/>
            </a:lvl6pPr>
            <a:lvl7pPr/>
            <a:lvl8pPr/>
            <a:lvl9pPr/>
          </a:lstStyle>
          <a:p>
            <a:pPr marL="285750" indent="-285750"/>
            <a:r>
              <a:rPr lang="en-US" dirty="0"/>
              <a:t>A regulated, high-volume organization (e.g., banking, insurance, manufacturing shared services) faces pressure to reduce cycle time, cost, and compliance risk in critical back-office operations. </a:t>
            </a:r>
          </a:p>
          <a:p>
            <a:pPr marL="285750" indent="-285750"/>
            <a:r>
              <a:rPr lang="en-US" dirty="0"/>
              <a:t>Therefore, the CFO and COO launch a cost and service improvement program. </a:t>
            </a:r>
          </a:p>
          <a:p>
            <a:pPr marL="285750" indent="-285750"/>
            <a:r>
              <a:rPr lang="en-US" dirty="0"/>
              <a:t>A top candidate process is flagged as “automation-ready” based on volume, delays, and error rates derived from Process Mining.</a:t>
            </a:r>
          </a:p>
          <a:p>
            <a:endParaRPr lang="en-US" dirty="0"/>
          </a:p>
          <a:p>
            <a:pPr marL="0" indent="0">
              <a:buNone/>
            </a:pPr>
            <a:r>
              <a:rPr lang="en-US" dirty="0"/>
              <a:t>The </a:t>
            </a:r>
            <a:r>
              <a:rPr lang="en-US" dirty="0" err="1"/>
              <a:t>organisation</a:t>
            </a:r>
            <a:r>
              <a:rPr lang="en-US" dirty="0"/>
              <a:t> is caught between multiple “good-sounding” options:</a:t>
            </a:r>
          </a:p>
          <a:p>
            <a:pPr marL="0" indent="0">
              <a:buNone/>
            </a:pPr>
            <a:endParaRPr lang="en-US" b="1" dirty="0"/>
          </a:p>
          <a:p>
            <a:pPr marL="0" indent="0">
              <a:buNone/>
            </a:pPr>
            <a:endParaRPr lang="en-US" b="1" dirty="0"/>
          </a:p>
          <a:p>
            <a:pPr marL="0" indent="0">
              <a:buNone/>
            </a:pPr>
            <a:endParaRPr lang="en-US" b="1" dirty="0"/>
          </a:p>
          <a:p>
            <a:pPr marL="0" indent="0">
              <a:buNone/>
            </a:pPr>
            <a:endParaRPr lang="en-DE" dirty="0"/>
          </a:p>
        </p:txBody>
      </p:sp>
      <p:sp>
        <p:nvSpPr>
          <p:cNvPr id="5" name="Date Placeholder 4">
            <a:extLst>
              <a:ext uri="{FF2B5EF4-FFF2-40B4-BE49-F238E27FC236}">
                <a16:creationId xmlns:a16="http://schemas.microsoft.com/office/drawing/2014/main" id="{5E082618-3940-3442-C990-23A1D950F9D9}"/>
              </a:ext>
            </a:extLst>
          </p:cNvPr>
          <p:cNvSpPr>
            <a:spLocks noGrp="1"/>
          </p:cNvSpPr>
          <p:nvPr>
            <p:ph type="dt" sz="half" idx="22"/>
          </p:nvPr>
        </p:nvSpPr>
        <p:spPr/>
        <p:txBody>
          <a:bodyPr/>
          <a:lstStyle/>
          <a:p>
            <a:r>
              <a:rPr lang="en-US" dirty="0"/>
              <a:t> </a:t>
            </a:r>
          </a:p>
        </p:txBody>
      </p:sp>
      <p:sp>
        <p:nvSpPr>
          <p:cNvPr id="6" name="Footer Placeholder 5">
            <a:extLst>
              <a:ext uri="{FF2B5EF4-FFF2-40B4-BE49-F238E27FC236}">
                <a16:creationId xmlns:a16="http://schemas.microsoft.com/office/drawing/2014/main" id="{35E86FA9-6734-10D7-8EEA-4F3110AE950E}"/>
              </a:ext>
            </a:extLst>
          </p:cNvPr>
          <p:cNvSpPr>
            <a:spLocks noGrp="1"/>
          </p:cNvSpPr>
          <p:nvPr>
            <p:ph type="ftr" sz="quarter" idx="23"/>
          </p:nvPr>
        </p:nvSpPr>
        <p:spPr/>
        <p:txBody>
          <a:bodyPr/>
          <a:lstStyle/>
          <a:p>
            <a:r>
              <a:rPr lang="en-US"/>
              <a:t>© 2025 SAG ARIS GmbH. All rights reserved.</a:t>
            </a:r>
          </a:p>
        </p:txBody>
      </p:sp>
      <p:sp>
        <p:nvSpPr>
          <p:cNvPr id="7" name="Slide Number Placeholder 6">
            <a:extLst>
              <a:ext uri="{FF2B5EF4-FFF2-40B4-BE49-F238E27FC236}">
                <a16:creationId xmlns:a16="http://schemas.microsoft.com/office/drawing/2014/main" id="{7E58B6CD-63FB-D882-20DD-9ECB655BD686}"/>
              </a:ext>
            </a:extLst>
          </p:cNvPr>
          <p:cNvSpPr>
            <a:spLocks noGrp="1"/>
          </p:cNvSpPr>
          <p:nvPr>
            <p:ph type="sldNum" sz="quarter" idx="24"/>
          </p:nvPr>
        </p:nvSpPr>
        <p:spPr/>
        <p:txBody>
          <a:bodyPr/>
          <a:lstStyle/>
          <a:p>
            <a:fld id="{22FF84AA-2C76-4AF1-8502-73D25D47F37C}" type="slidenum">
              <a:rPr lang="en-US" noProof="0" smtClean="0"/>
              <a:pPr/>
              <a:t>6</a:t>
            </a:fld>
            <a:endParaRPr lang="en-US" noProof="0"/>
          </a:p>
        </p:txBody>
      </p:sp>
      <p:sp>
        <p:nvSpPr>
          <p:cNvPr id="9" name="Rectangle 8">
            <a:extLst>
              <a:ext uri="{FF2B5EF4-FFF2-40B4-BE49-F238E27FC236}">
                <a16:creationId xmlns:a16="http://schemas.microsoft.com/office/drawing/2014/main" id="{0B299A37-836E-45BE-5CBA-23CBD7F2D0BF}"/>
              </a:ext>
            </a:extLst>
          </p:cNvPr>
          <p:cNvSpPr/>
          <p:nvPr>
            <p:custDataLst>
              <p:tags r:id="rId1"/>
            </p:custDataLst>
          </p:nvPr>
        </p:nvSpPr>
        <p:spPr>
          <a:xfrm>
            <a:off x="550862" y="3937039"/>
            <a:ext cx="5329114" cy="94566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lIns="97200" tIns="97200" rIns="97200" bIns="97200" rtlCol="0" anchor="ctr"/>
          <a:lstStyle/>
          <a:p>
            <a:pPr algn="ctr"/>
            <a:r>
              <a:rPr lang="en-US" b="1"/>
              <a:t>Robotic Process Automation</a:t>
            </a:r>
            <a:endParaRPr lang="en-US"/>
          </a:p>
        </p:txBody>
      </p:sp>
      <p:sp>
        <p:nvSpPr>
          <p:cNvPr id="10" name="Rectangle 9">
            <a:extLst>
              <a:ext uri="{FF2B5EF4-FFF2-40B4-BE49-F238E27FC236}">
                <a16:creationId xmlns:a16="http://schemas.microsoft.com/office/drawing/2014/main" id="{9725BC9F-41D0-F050-E8CF-5D3EF3E03969}"/>
              </a:ext>
            </a:extLst>
          </p:cNvPr>
          <p:cNvSpPr/>
          <p:nvPr>
            <p:custDataLst>
              <p:tags r:id="rId2"/>
            </p:custDataLst>
          </p:nvPr>
        </p:nvSpPr>
        <p:spPr>
          <a:xfrm>
            <a:off x="6350997" y="3937039"/>
            <a:ext cx="5329114" cy="94566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lIns="97200" tIns="97200" rIns="97200" bIns="97200" rtlCol="0" anchor="ctr"/>
          <a:lstStyle/>
          <a:p>
            <a:pPr algn="ctr"/>
            <a:r>
              <a:rPr lang="en-US" b="1"/>
              <a:t>Agentic AI</a:t>
            </a:r>
            <a:endParaRPr lang="en-US"/>
          </a:p>
        </p:txBody>
      </p:sp>
      <p:sp>
        <p:nvSpPr>
          <p:cNvPr id="12" name="TextBox 11">
            <a:extLst>
              <a:ext uri="{FF2B5EF4-FFF2-40B4-BE49-F238E27FC236}">
                <a16:creationId xmlns:a16="http://schemas.microsoft.com/office/drawing/2014/main" id="{C98840AE-F59A-774C-3BCC-2C7CD7AFD619}"/>
              </a:ext>
            </a:extLst>
          </p:cNvPr>
          <p:cNvSpPr txBox="1"/>
          <p:nvPr/>
        </p:nvSpPr>
        <p:spPr>
          <a:xfrm>
            <a:off x="511888" y="5460970"/>
            <a:ext cx="11168223" cy="400110"/>
          </a:xfrm>
          <a:prstGeom prst="rect">
            <a:avLst/>
          </a:prstGeom>
          <a:ln/>
        </p:spPr>
        <p:style>
          <a:lnRef idx="2">
            <a:schemeClr val="accent5">
              <a:shade val="15000"/>
            </a:schemeClr>
          </a:lnRef>
          <a:fillRef idx="1">
            <a:schemeClr val="accent5"/>
          </a:fillRef>
          <a:effectRef idx="0">
            <a:schemeClr val="accent5"/>
          </a:effectRef>
          <a:fontRef idx="minor">
            <a:schemeClr val="lt1"/>
          </a:fontRef>
        </p:style>
        <p:txBody>
          <a:bodyPr wrap="square" anchor="ctr">
            <a:spAutoFit/>
          </a:bodyPr>
          <a:lstStyle/>
          <a:p>
            <a:pPr algn="ctr"/>
            <a:r>
              <a:rPr lang="en-US" sz="2000"/>
              <a:t>Which option produces the best outcome?</a:t>
            </a:r>
          </a:p>
        </p:txBody>
      </p:sp>
    </p:spTree>
    <p:extLst>
      <p:ext uri="{BB962C8B-B14F-4D97-AF65-F5344CB8AC3E}">
        <p14:creationId xmlns:p14="http://schemas.microsoft.com/office/powerpoint/2010/main" val="3503628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27D3-09D0-3601-FBA3-EC4451C0FD16}"/>
              </a:ext>
            </a:extLst>
          </p:cNvPr>
          <p:cNvSpPr>
            <a:spLocks noGrp="1"/>
          </p:cNvSpPr>
          <p:nvPr>
            <p:ph type="title"/>
          </p:nvPr>
        </p:nvSpPr>
        <p:spPr/>
        <p:txBody>
          <a:bodyPr/>
          <a:lstStyle/>
          <a:p>
            <a:r>
              <a:rPr lang="en-US"/>
              <a:t>Use Case: Evidence-Based Automation Choice</a:t>
            </a:r>
          </a:p>
        </p:txBody>
      </p:sp>
      <p:sp>
        <p:nvSpPr>
          <p:cNvPr id="3" name="Subtitle 2">
            <a:extLst>
              <a:ext uri="{FF2B5EF4-FFF2-40B4-BE49-F238E27FC236}">
                <a16:creationId xmlns:a16="http://schemas.microsoft.com/office/drawing/2014/main" id="{FC0822ED-EF9E-0EBA-12E9-954667F9340E}"/>
              </a:ext>
            </a:extLst>
          </p:cNvPr>
          <p:cNvSpPr>
            <a:spLocks noGrp="1"/>
          </p:cNvSpPr>
          <p:nvPr>
            <p:ph type="subTitle" sz="quarter" idx="1"/>
          </p:nvPr>
        </p:nvSpPr>
        <p:spPr>
          <a:xfrm>
            <a:off x="550863" y="707400"/>
            <a:ext cx="11278436" cy="294005"/>
          </a:xfrm>
        </p:spPr>
        <p:txBody>
          <a:bodyPr/>
          <a:lstStyle/>
          <a:p>
            <a:r>
              <a:rPr lang="en-US" dirty="0"/>
              <a:t>On the example</a:t>
            </a:r>
          </a:p>
        </p:txBody>
      </p:sp>
      <p:sp>
        <p:nvSpPr>
          <p:cNvPr id="4" name="Date Placeholder 3">
            <a:extLst>
              <a:ext uri="{FF2B5EF4-FFF2-40B4-BE49-F238E27FC236}">
                <a16:creationId xmlns:a16="http://schemas.microsoft.com/office/drawing/2014/main" id="{350BC6D3-613F-EDCF-46C1-89CBD6CA5102}"/>
              </a:ext>
            </a:extLst>
          </p:cNvPr>
          <p:cNvSpPr>
            <a:spLocks noGrp="1"/>
          </p:cNvSpPr>
          <p:nvPr>
            <p:ph type="dt" sz="half" idx="10"/>
          </p:nvPr>
        </p:nvSpPr>
        <p:spPr/>
        <p:txBody>
          <a:bodyPr/>
          <a:lstStyle/>
          <a:p>
            <a:r>
              <a:rPr lang="en-US" dirty="0"/>
              <a:t> </a:t>
            </a:r>
          </a:p>
        </p:txBody>
      </p:sp>
      <p:sp>
        <p:nvSpPr>
          <p:cNvPr id="5" name="Footer Placeholder 4">
            <a:extLst>
              <a:ext uri="{FF2B5EF4-FFF2-40B4-BE49-F238E27FC236}">
                <a16:creationId xmlns:a16="http://schemas.microsoft.com/office/drawing/2014/main" id="{5BBF7133-5EC5-562B-553C-79C9913DC1BB}"/>
              </a:ext>
            </a:extLst>
          </p:cNvPr>
          <p:cNvSpPr>
            <a:spLocks noGrp="1"/>
          </p:cNvSpPr>
          <p:nvPr>
            <p:ph type="ftr" sz="quarter" idx="11"/>
          </p:nvPr>
        </p:nvSpPr>
        <p:spPr/>
        <p:txBody>
          <a:bodyPr/>
          <a:lstStyle/>
          <a:p>
            <a:r>
              <a:rPr lang="en-US"/>
              <a:t>© 2025 SAG ARIS GmbH. All rights reserved.</a:t>
            </a:r>
          </a:p>
        </p:txBody>
      </p:sp>
      <p:sp>
        <p:nvSpPr>
          <p:cNvPr id="6" name="Slide Number Placeholder 5">
            <a:extLst>
              <a:ext uri="{FF2B5EF4-FFF2-40B4-BE49-F238E27FC236}">
                <a16:creationId xmlns:a16="http://schemas.microsoft.com/office/drawing/2014/main" id="{AE314893-9651-B3F0-4686-21ED4346023A}"/>
              </a:ext>
            </a:extLst>
          </p:cNvPr>
          <p:cNvSpPr>
            <a:spLocks noGrp="1"/>
          </p:cNvSpPr>
          <p:nvPr>
            <p:ph type="sldNum" sz="quarter" idx="12"/>
          </p:nvPr>
        </p:nvSpPr>
        <p:spPr/>
        <p:txBody>
          <a:bodyPr/>
          <a:lstStyle/>
          <a:p>
            <a:fld id="{22FF84AA-2C76-4AF1-8502-73D25D47F37C}" type="slidenum">
              <a:rPr lang="en-US" noProof="0" smtClean="0"/>
              <a:pPr/>
              <a:t>7</a:t>
            </a:fld>
            <a:endParaRPr lang="en-US" noProof="0"/>
          </a:p>
        </p:txBody>
      </p:sp>
      <p:pic>
        <p:nvPicPr>
          <p:cNvPr id="8" name="Picture 7">
            <a:extLst>
              <a:ext uri="{FF2B5EF4-FFF2-40B4-BE49-F238E27FC236}">
                <a16:creationId xmlns:a16="http://schemas.microsoft.com/office/drawing/2014/main" id="{FDBBB348-C323-1C22-67DB-88A3DFCCD412}"/>
              </a:ext>
            </a:extLst>
          </p:cNvPr>
          <p:cNvPicPr>
            <a:picLocks noChangeAspect="1"/>
          </p:cNvPicPr>
          <p:nvPr/>
        </p:nvPicPr>
        <p:blipFill>
          <a:blip r:embed="rId2">
            <a:extLst>
              <a:ext uri="{28A0092B-C50C-407E-A947-70E740481C1C}">
                <a14:useLocalDpi xmlns:a14="http://schemas.microsoft.com/office/drawing/2010/main" val="0"/>
              </a:ext>
            </a:extLst>
          </a:blip>
          <a:srcRect l="25118" t="37909" r="11718" b="33586"/>
          <a:stretch>
            <a:fillRect/>
          </a:stretch>
        </p:blipFill>
        <p:spPr>
          <a:xfrm>
            <a:off x="5467" y="1194025"/>
            <a:ext cx="12186533" cy="1963200"/>
          </a:xfrm>
          <a:prstGeom prst="rect">
            <a:avLst/>
          </a:prstGeom>
        </p:spPr>
      </p:pic>
      <p:pic>
        <p:nvPicPr>
          <p:cNvPr id="10" name="Picture 9">
            <a:extLst>
              <a:ext uri="{FF2B5EF4-FFF2-40B4-BE49-F238E27FC236}">
                <a16:creationId xmlns:a16="http://schemas.microsoft.com/office/drawing/2014/main" id="{E64AB739-5607-BA1D-F960-75A9442C73EE}"/>
              </a:ext>
            </a:extLst>
          </p:cNvPr>
          <p:cNvPicPr>
            <a:picLocks noChangeAspect="1"/>
          </p:cNvPicPr>
          <p:nvPr/>
        </p:nvPicPr>
        <p:blipFill>
          <a:blip r:embed="rId3"/>
          <a:stretch>
            <a:fillRect/>
          </a:stretch>
        </p:blipFill>
        <p:spPr>
          <a:xfrm>
            <a:off x="842239" y="3435908"/>
            <a:ext cx="10506020" cy="2824808"/>
          </a:xfrm>
          <a:prstGeom prst="rect">
            <a:avLst/>
          </a:prstGeom>
        </p:spPr>
      </p:pic>
    </p:spTree>
    <p:extLst>
      <p:ext uri="{BB962C8B-B14F-4D97-AF65-F5344CB8AC3E}">
        <p14:creationId xmlns:p14="http://schemas.microsoft.com/office/powerpoint/2010/main" val="3084682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D8D90DD5-B1BF-403F-B27A-2F01ABCA33CC}"/>
              </a:ext>
            </a:extLst>
          </p:cNvPr>
          <p:cNvSpPr/>
          <p:nvPr/>
        </p:nvSpPr>
        <p:spPr>
          <a:xfrm>
            <a:off x="0" y="1387800"/>
            <a:ext cx="12192000" cy="2721600"/>
          </a:xfrm>
          <a:prstGeom prst="rect">
            <a:avLst/>
          </a:prstGeom>
          <a:solidFill>
            <a:schemeClr val="tx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marL="0" algn="l" defTabSz="972000" rtl="0" eaLnBrk="1" latinLnBrk="0" hangingPunct="1">
              <a:defRPr sz="1600" kern="1200">
                <a:solidFill>
                  <a:srgbClr val="FFFFFF"/>
                </a:solidFill>
                <a:latin typeface="Segoe UI"/>
                <a:ea typeface="+mn-ea"/>
                <a:cs typeface="+mn-cs"/>
              </a:defRPr>
            </a:lvl1pPr>
            <a:lvl2pPr marL="291600" algn="l" defTabSz="972000" rtl="0" eaLnBrk="1" latinLnBrk="0" hangingPunct="1">
              <a:defRPr sz="1600" kern="1200">
                <a:solidFill>
                  <a:srgbClr val="FFFFFF"/>
                </a:solidFill>
                <a:latin typeface="Segoe UI"/>
                <a:ea typeface="+mn-ea"/>
                <a:cs typeface="+mn-cs"/>
              </a:defRPr>
            </a:lvl2pPr>
            <a:lvl3pPr marL="583200" algn="l" defTabSz="972000" rtl="0" eaLnBrk="1" latinLnBrk="0" hangingPunct="1">
              <a:defRPr sz="1600" kern="1200">
                <a:solidFill>
                  <a:srgbClr val="FFFFFF"/>
                </a:solidFill>
                <a:latin typeface="Segoe UI"/>
                <a:ea typeface="+mn-ea"/>
                <a:cs typeface="+mn-cs"/>
              </a:defRPr>
            </a:lvl3pPr>
            <a:lvl4pPr marL="874800" algn="l" defTabSz="972000" rtl="0" eaLnBrk="1" latinLnBrk="0" hangingPunct="1">
              <a:defRPr sz="1600" kern="1200">
                <a:solidFill>
                  <a:srgbClr val="FFFFFF"/>
                </a:solidFill>
                <a:latin typeface="Segoe UI"/>
                <a:ea typeface="+mn-ea"/>
                <a:cs typeface="+mn-cs"/>
              </a:defRPr>
            </a:lvl4pPr>
            <a:lvl5pPr marL="1166400" algn="l" defTabSz="972000" rtl="0" eaLnBrk="1" latinLnBrk="0" hangingPunct="1">
              <a:defRPr sz="1600" kern="1200">
                <a:solidFill>
                  <a:srgbClr val="FFFFFF"/>
                </a:solidFill>
                <a:latin typeface="Segoe UI"/>
                <a:ea typeface="+mn-ea"/>
                <a:cs typeface="+mn-cs"/>
              </a:defRPr>
            </a:lvl5pPr>
            <a:lvl6pPr marL="1458000" algn="l" defTabSz="972000" rtl="0" eaLnBrk="1" latinLnBrk="0" hangingPunct="1">
              <a:defRPr sz="1600" kern="1200">
                <a:solidFill>
                  <a:srgbClr val="FFFFFF"/>
                </a:solidFill>
                <a:latin typeface="Segoe UI"/>
                <a:ea typeface="+mn-ea"/>
                <a:cs typeface="+mn-cs"/>
              </a:defRPr>
            </a:lvl6pPr>
            <a:lvl7pPr marL="1749600" algn="l" defTabSz="972000" rtl="0" eaLnBrk="1" latinLnBrk="0" hangingPunct="1">
              <a:defRPr sz="1600" kern="1200">
                <a:solidFill>
                  <a:srgbClr val="FFFFFF"/>
                </a:solidFill>
                <a:latin typeface="Segoe UI"/>
                <a:ea typeface="+mn-ea"/>
                <a:cs typeface="+mn-cs"/>
              </a:defRPr>
            </a:lvl7pPr>
            <a:lvl8pPr marL="2041200" algn="l" defTabSz="972000" rtl="0" eaLnBrk="1" latinLnBrk="0" hangingPunct="1">
              <a:defRPr sz="1600" kern="1200">
                <a:solidFill>
                  <a:srgbClr val="FFFFFF"/>
                </a:solidFill>
                <a:latin typeface="Segoe UI"/>
                <a:ea typeface="+mn-ea"/>
                <a:cs typeface="+mn-cs"/>
              </a:defRPr>
            </a:lvl8pPr>
            <a:lvl9pPr marL="2332800" algn="l" defTabSz="972000" rtl="0" eaLnBrk="1" latinLnBrk="0" hangingPunct="1">
              <a:defRPr sz="1600" kern="1200">
                <a:solidFill>
                  <a:srgbClr val="FFFFFF"/>
                </a:solidFill>
                <a:latin typeface="Segoe UI"/>
                <a:ea typeface="+mn-ea"/>
                <a:cs typeface="+mn-cs"/>
              </a:defRPr>
            </a:lvl9pPr>
          </a:lstStyle>
          <a:p>
            <a:pPr algn="l"/>
            <a:endParaRPr lang="en-DE" sz="1400" b="1">
              <a:solidFill>
                <a:schemeClr val="bg1"/>
              </a:solidFill>
            </a:endParaRPr>
          </a:p>
        </p:txBody>
      </p:sp>
      <p:grpSp>
        <p:nvGrpSpPr>
          <p:cNvPr id="67" name="Group 66">
            <a:extLst>
              <a:ext uri="{FF2B5EF4-FFF2-40B4-BE49-F238E27FC236}">
                <a16:creationId xmlns:a16="http://schemas.microsoft.com/office/drawing/2014/main" id="{829BA64F-634D-4F2A-9FB6-F76F8FCBFB6F}"/>
              </a:ext>
            </a:extLst>
          </p:cNvPr>
          <p:cNvGrpSpPr/>
          <p:nvPr/>
        </p:nvGrpSpPr>
        <p:grpSpPr>
          <a:xfrm>
            <a:off x="1770940" y="1582200"/>
            <a:ext cx="2381060" cy="2253946"/>
            <a:chOff x="4913829" y="1521810"/>
            <a:chExt cx="2425912" cy="2364253"/>
          </a:xfrm>
        </p:grpSpPr>
        <p:grpSp>
          <p:nvGrpSpPr>
            <p:cNvPr id="68" name="Group 67">
              <a:extLst>
                <a:ext uri="{FF2B5EF4-FFF2-40B4-BE49-F238E27FC236}">
                  <a16:creationId xmlns:a16="http://schemas.microsoft.com/office/drawing/2014/main" id="{EA168605-DFFA-44DE-A430-87CAC3C9BFE3}"/>
                </a:ext>
              </a:extLst>
            </p:cNvPr>
            <p:cNvGrpSpPr/>
            <p:nvPr/>
          </p:nvGrpSpPr>
          <p:grpSpPr>
            <a:xfrm>
              <a:off x="4913829" y="1521810"/>
              <a:ext cx="2370695" cy="2364253"/>
              <a:chOff x="4930775" y="1601788"/>
              <a:chExt cx="2336800" cy="2330450"/>
            </a:xfrm>
            <a:solidFill>
              <a:schemeClr val="accent1"/>
            </a:solidFill>
            <a:effectLst/>
          </p:grpSpPr>
          <p:sp>
            <p:nvSpPr>
              <p:cNvPr id="75" name="Freeform 5">
                <a:extLst>
                  <a:ext uri="{FF2B5EF4-FFF2-40B4-BE49-F238E27FC236}">
                    <a16:creationId xmlns:a16="http://schemas.microsoft.com/office/drawing/2014/main" id="{BA3426CA-9EF7-4E33-81B5-31C5C8DB720A}"/>
                  </a:ext>
                </a:extLst>
              </p:cNvPr>
              <p:cNvSpPr/>
              <p:nvPr/>
            </p:nvSpPr>
            <p:spPr bwMode="auto">
              <a:xfrm>
                <a:off x="6183313" y="3249612"/>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sp>
            <p:nvSpPr>
              <p:cNvPr id="76" name="Freeform 6">
                <a:extLst>
                  <a:ext uri="{FF2B5EF4-FFF2-40B4-BE49-F238E27FC236}">
                    <a16:creationId xmlns:a16="http://schemas.microsoft.com/office/drawing/2014/main" id="{9DEE92AF-9566-45B6-B3B1-132649E65A60}"/>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sp>
            <p:nvSpPr>
              <p:cNvPr id="77" name="Freeform 7">
                <a:extLst>
                  <a:ext uri="{FF2B5EF4-FFF2-40B4-BE49-F238E27FC236}">
                    <a16:creationId xmlns:a16="http://schemas.microsoft.com/office/drawing/2014/main" id="{36393A6D-3839-40FC-BB58-083D0CC5DCD2}"/>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sp>
            <p:nvSpPr>
              <p:cNvPr id="78" name="Freeform 8">
                <a:extLst>
                  <a:ext uri="{FF2B5EF4-FFF2-40B4-BE49-F238E27FC236}">
                    <a16:creationId xmlns:a16="http://schemas.microsoft.com/office/drawing/2014/main" id="{2311FA80-974C-422E-956A-DAAF1B61547E}"/>
                  </a:ext>
                </a:extLst>
              </p:cNvPr>
              <p:cNvSpPr/>
              <p:nvPr/>
            </p:nvSpPr>
            <p:spPr bwMode="auto">
              <a:xfrm>
                <a:off x="5130801"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sp>
            <p:nvSpPr>
              <p:cNvPr id="79" name="Freeform 9">
                <a:extLst>
                  <a:ext uri="{FF2B5EF4-FFF2-40B4-BE49-F238E27FC236}">
                    <a16:creationId xmlns:a16="http://schemas.microsoft.com/office/drawing/2014/main" id="{3891B3B0-8C0A-4A04-9485-35ADFA536751}"/>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sp>
            <p:nvSpPr>
              <p:cNvPr id="80" name="Freeform 10">
                <a:extLst>
                  <a:ext uri="{FF2B5EF4-FFF2-40B4-BE49-F238E27FC236}">
                    <a16:creationId xmlns:a16="http://schemas.microsoft.com/office/drawing/2014/main" id="{527F40A1-99F2-4212-8881-EFC97D42C534}"/>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00">
                  <a:solidFill>
                    <a:prstClr val="black"/>
                  </a:solidFill>
                </a:endParaRPr>
              </a:p>
            </p:txBody>
          </p:sp>
        </p:grpSp>
        <p:sp>
          <p:nvSpPr>
            <p:cNvPr id="69" name="TextBox 68">
              <a:extLst>
                <a:ext uri="{FF2B5EF4-FFF2-40B4-BE49-F238E27FC236}">
                  <a16:creationId xmlns:a16="http://schemas.microsoft.com/office/drawing/2014/main" id="{79978F94-B2B7-4D63-AF83-A54262E4A095}"/>
                </a:ext>
              </a:extLst>
            </p:cNvPr>
            <p:cNvSpPr txBox="1"/>
            <p:nvPr/>
          </p:nvSpPr>
          <p:spPr>
            <a:xfrm>
              <a:off x="6561668" y="1737802"/>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1</a:t>
              </a:r>
            </a:p>
          </p:txBody>
        </p:sp>
        <p:sp>
          <p:nvSpPr>
            <p:cNvPr id="70" name="TextBox 69">
              <a:extLst>
                <a:ext uri="{FF2B5EF4-FFF2-40B4-BE49-F238E27FC236}">
                  <a16:creationId xmlns:a16="http://schemas.microsoft.com/office/drawing/2014/main" id="{0BC4273B-A9B9-45A4-AAAE-86A4B0F9350E}"/>
                </a:ext>
              </a:extLst>
            </p:cNvPr>
            <p:cNvSpPr txBox="1"/>
            <p:nvPr/>
          </p:nvSpPr>
          <p:spPr>
            <a:xfrm>
              <a:off x="6561668" y="3466186"/>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3</a:t>
              </a:r>
            </a:p>
          </p:txBody>
        </p:sp>
        <p:sp>
          <p:nvSpPr>
            <p:cNvPr id="71" name="TextBox 70">
              <a:extLst>
                <a:ext uri="{FF2B5EF4-FFF2-40B4-BE49-F238E27FC236}">
                  <a16:creationId xmlns:a16="http://schemas.microsoft.com/office/drawing/2014/main" id="{4396A5F3-2E3B-4AAB-9A5D-17D1D00737B6}"/>
                </a:ext>
              </a:extLst>
            </p:cNvPr>
            <p:cNvSpPr txBox="1"/>
            <p:nvPr/>
          </p:nvSpPr>
          <p:spPr>
            <a:xfrm>
              <a:off x="5507237" y="1737802"/>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6</a:t>
              </a:r>
            </a:p>
          </p:txBody>
        </p:sp>
        <p:sp>
          <p:nvSpPr>
            <p:cNvPr id="72" name="TextBox 71">
              <a:extLst>
                <a:ext uri="{FF2B5EF4-FFF2-40B4-BE49-F238E27FC236}">
                  <a16:creationId xmlns:a16="http://schemas.microsoft.com/office/drawing/2014/main" id="{A07E062A-1760-4BF3-9CCA-4BA868C2D7B4}"/>
                </a:ext>
              </a:extLst>
            </p:cNvPr>
            <p:cNvSpPr txBox="1"/>
            <p:nvPr/>
          </p:nvSpPr>
          <p:spPr>
            <a:xfrm>
              <a:off x="5507237" y="3466186"/>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4</a:t>
              </a:r>
            </a:p>
          </p:txBody>
        </p:sp>
        <p:sp>
          <p:nvSpPr>
            <p:cNvPr id="73" name="TextBox 72">
              <a:extLst>
                <a:ext uri="{FF2B5EF4-FFF2-40B4-BE49-F238E27FC236}">
                  <a16:creationId xmlns:a16="http://schemas.microsoft.com/office/drawing/2014/main" id="{0F5B6402-22A9-4A3E-83FF-2C4A71A6CE16}"/>
                </a:ext>
              </a:extLst>
            </p:cNvPr>
            <p:cNvSpPr txBox="1"/>
            <p:nvPr/>
          </p:nvSpPr>
          <p:spPr>
            <a:xfrm>
              <a:off x="5011937" y="2602586"/>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5</a:t>
              </a:r>
            </a:p>
          </p:txBody>
        </p:sp>
        <p:sp>
          <p:nvSpPr>
            <p:cNvPr id="74" name="TextBox 73">
              <a:extLst>
                <a:ext uri="{FF2B5EF4-FFF2-40B4-BE49-F238E27FC236}">
                  <a16:creationId xmlns:a16="http://schemas.microsoft.com/office/drawing/2014/main" id="{31CEBB68-6AF5-4F23-B919-A9F05D8E2C01}"/>
                </a:ext>
              </a:extLst>
            </p:cNvPr>
            <p:cNvSpPr txBox="1"/>
            <p:nvPr/>
          </p:nvSpPr>
          <p:spPr>
            <a:xfrm>
              <a:off x="7056108" y="2602586"/>
              <a:ext cx="283633" cy="225988"/>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400" kern="0">
                  <a:solidFill>
                    <a:schemeClr val="bg1"/>
                  </a:solidFill>
                </a:rPr>
                <a:t>2</a:t>
              </a:r>
            </a:p>
          </p:txBody>
        </p:sp>
      </p:grpSp>
      <p:sp>
        <p:nvSpPr>
          <p:cNvPr id="81" name="Content Placeholder 4">
            <a:extLst>
              <a:ext uri="{FF2B5EF4-FFF2-40B4-BE49-F238E27FC236}">
                <a16:creationId xmlns:a16="http://schemas.microsoft.com/office/drawing/2014/main" id="{8C198687-63D6-42C3-9B89-24E26CAC904B}"/>
              </a:ext>
            </a:extLst>
          </p:cNvPr>
          <p:cNvSpPr txBox="1"/>
          <p:nvPr>
            <p:custDataLst>
              <p:tags r:id="rId2"/>
            </p:custDataLst>
          </p:nvPr>
        </p:nvSpPr>
        <p:spPr>
          <a:xfrm>
            <a:off x="4540800" y="1639009"/>
            <a:ext cx="6762543" cy="2139915"/>
          </a:xfrm>
          <a:prstGeom prst="rect">
            <a:avLst/>
          </a:prstGeom>
        </p:spPr>
        <p:txBody>
          <a:bodyPr vert="horz" lIns="0" tIns="0" rIns="0" bIns="0" rtlCol="0">
            <a:noAutofit/>
          </a:bodyPr>
          <a:lstStyle>
            <a:defPPr>
              <a:defRPr lang="en-US"/>
            </a:defPPr>
            <a:lvl1pPr marL="0" indent="0" algn="l" defTabSz="914377" rtl="0" eaLnBrk="1" latinLnBrk="0" hangingPunct="1">
              <a:lnSpc>
                <a:spcPct val="120000"/>
              </a:lnSpc>
              <a:spcBef>
                <a:spcPts val="600"/>
              </a:spcBef>
              <a:spcAft>
                <a:spcPts val="600"/>
              </a:spcAft>
              <a:buFontTx/>
              <a:buNone/>
              <a:defRPr sz="1700" kern="1200">
                <a:solidFill>
                  <a:schemeClr val="tx2"/>
                </a:solidFill>
                <a:latin typeface="+mn-lt"/>
                <a:ea typeface="+mn-ea"/>
                <a:cs typeface="+mn-cs"/>
              </a:defRPr>
            </a:lvl1pPr>
            <a:lvl2pPr marL="287338" indent="-287338" algn="l" defTabSz="914377" rtl="0" eaLnBrk="1" latinLnBrk="0" hangingPunct="1">
              <a:lnSpc>
                <a:spcPct val="120000"/>
              </a:lnSpc>
              <a:spcBef>
                <a:spcPct val="0"/>
              </a:spcBef>
              <a:spcAft>
                <a:spcPts val="600"/>
              </a:spcAft>
              <a:buClr>
                <a:schemeClr val="tx2"/>
              </a:buClr>
              <a:buFont typeface="Wingdings" panose="05000000000000000000" pitchFamily="2" charset="2"/>
              <a:buChar char="§"/>
              <a:defRPr sz="1700" kern="1200">
                <a:solidFill>
                  <a:schemeClr val="tx2"/>
                </a:solidFill>
                <a:latin typeface="+mn-lt"/>
                <a:ea typeface="+mn-ea"/>
                <a:cs typeface="+mn-cs"/>
              </a:defRPr>
            </a:lvl2pPr>
            <a:lvl3pPr marL="569913" indent="-277813" algn="l" defTabSz="914377" rtl="0" eaLnBrk="1" latinLnBrk="0" hangingPunct="1">
              <a:lnSpc>
                <a:spcPct val="120000"/>
              </a:lnSpc>
              <a:spcBef>
                <a:spcPct val="0"/>
              </a:spcBef>
              <a:spcAft>
                <a:spcPts val="600"/>
              </a:spcAft>
              <a:buClr>
                <a:schemeClr val="tx2"/>
              </a:buClr>
              <a:buFont typeface="Arial" panose="020B0604020202020204" pitchFamily="34" charset="0"/>
              <a:buChar char="–"/>
              <a:defRPr sz="1700" kern="1200">
                <a:solidFill>
                  <a:schemeClr val="tx2"/>
                </a:solidFill>
                <a:latin typeface="+mn-lt"/>
                <a:ea typeface="+mn-ea"/>
                <a:cs typeface="+mn-cs"/>
              </a:defRPr>
            </a:lvl3pPr>
            <a:lvl4pPr marL="800100" indent="-230188" algn="l" defTabSz="914377" rtl="0" eaLnBrk="1" latinLnBrk="0" hangingPunct="1">
              <a:lnSpc>
                <a:spcPct val="120000"/>
              </a:lnSpc>
              <a:spcBef>
                <a:spcPct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00000"/>
              </a:lnSpc>
              <a:spcBef>
                <a:spcPts val="400"/>
              </a:spcBef>
              <a:buClr>
                <a:schemeClr val="tx2"/>
              </a:buClr>
              <a:buFont typeface="+mj-lt"/>
              <a:buNone/>
              <a:defRPr sz="1000" b="1" kern="1200">
                <a:solidFill>
                  <a:schemeClr val="tx2"/>
                </a:solidFill>
                <a:latin typeface="+mn-lt"/>
                <a:ea typeface="+mn-ea"/>
                <a:cs typeface="+mn-cs"/>
              </a:defRPr>
            </a:lvl5pPr>
            <a:lvl6pPr marL="292608" indent="-292608" algn="l" defTabSz="914377" rtl="0" eaLnBrk="1" latinLnBrk="0" hangingPunct="1">
              <a:lnSpc>
                <a:spcPct val="120000"/>
              </a:lnSpc>
              <a:spcBef>
                <a:spcPct val="0"/>
              </a:spcBef>
              <a:buFont typeface="+mj-lt"/>
              <a:buAutoNum type="arabicPeriod"/>
              <a:defRPr sz="1700" kern="1200">
                <a:solidFill>
                  <a:schemeClr val="tx2"/>
                </a:solidFill>
                <a:latin typeface="+mn-lt"/>
                <a:ea typeface="+mn-ea"/>
                <a:cs typeface="+mn-cs"/>
              </a:defRPr>
            </a:lvl6pPr>
            <a:lvl7pPr marL="585216" indent="-292608" algn="l" defTabSz="914377" rtl="0" eaLnBrk="1" latinLnBrk="0" hangingPunct="1">
              <a:lnSpc>
                <a:spcPct val="120000"/>
              </a:lnSpc>
              <a:spcBef>
                <a:spcPct val="0"/>
              </a:spcBef>
              <a:buFont typeface="+mj-lt"/>
              <a:buAutoNum type="alphaLcParenR"/>
              <a:defRPr sz="1700" kern="1200">
                <a:solidFill>
                  <a:schemeClr val="tx2"/>
                </a:solidFill>
                <a:latin typeface="+mn-lt"/>
                <a:ea typeface="+mn-ea"/>
                <a:cs typeface="+mn-cs"/>
              </a:defRPr>
            </a:lvl7pPr>
            <a:lvl8pPr marL="292608" indent="-292608" algn="l" defTabSz="914377" rtl="0" eaLnBrk="1" latinLnBrk="0" hangingPunct="1">
              <a:lnSpc>
                <a:spcPct val="120000"/>
              </a:lnSpc>
              <a:spcBef>
                <a:spcPct val="0"/>
              </a:spcBef>
              <a:buClr>
                <a:schemeClr val="tx2"/>
              </a:buClr>
              <a:buSzPct val="85000"/>
              <a:buFont typeface="Segoe MDL2 Assets" panose="050A0102010101010101" pitchFamily="18" charset="0"/>
              <a:buChar char=""/>
              <a:defRPr sz="1700" kern="1200">
                <a:solidFill>
                  <a:schemeClr val="tx2"/>
                </a:solidFill>
                <a:latin typeface="+mn-lt"/>
                <a:ea typeface="+mn-ea"/>
                <a:cs typeface="+mn-cs"/>
              </a:defRPr>
            </a:lvl8pPr>
            <a:lvl9pPr marL="285750" indent="-285750" algn="l" defTabSz="914377" rtl="0" eaLnBrk="1" latinLnBrk="0" hangingPunct="1">
              <a:lnSpc>
                <a:spcPct val="120000"/>
              </a:lnSpc>
              <a:spcBef>
                <a:spcPct val="0"/>
              </a:spcBef>
              <a:buClr>
                <a:schemeClr val="tx2"/>
              </a:buClr>
              <a:buSzPct val="85000"/>
              <a:buFont typeface="Segoe MDL2 Assets" panose="050A0102010101010101" pitchFamily="18" charset="0"/>
              <a:buChar char=""/>
              <a:defRPr sz="1700" kern="1200">
                <a:solidFill>
                  <a:schemeClr val="tx2"/>
                </a:solidFill>
                <a:latin typeface="+mn-lt"/>
                <a:ea typeface="+mn-ea"/>
                <a:cs typeface="+mn-cs"/>
              </a:defRPr>
            </a:lvl9pPr>
          </a:lstStyle>
          <a:p>
            <a:pPr>
              <a:spcBef>
                <a:spcPct val="0"/>
              </a:spcBef>
              <a:spcAft>
                <a:spcPct val="0"/>
              </a:spcAft>
              <a:buSzTx/>
            </a:pPr>
            <a:r>
              <a:rPr lang="en-US" sz="1800" b="1" dirty="0">
                <a:solidFill>
                  <a:schemeClr val="bg1"/>
                </a:solidFill>
              </a:rPr>
              <a:t>Use ARIS Simulation as a central, trusted decision layer to:</a:t>
            </a:r>
          </a:p>
          <a:p>
            <a:pPr marL="285750" indent="-285750">
              <a:spcBef>
                <a:spcPct val="0"/>
              </a:spcBef>
              <a:spcAft>
                <a:spcPct val="0"/>
              </a:spcAft>
              <a:buClr>
                <a:schemeClr val="bg1">
                  <a:lumMod val="85000"/>
                </a:schemeClr>
              </a:buClr>
              <a:buSzPct val="130000"/>
              <a:buFont typeface="Crimson Pro" pitchFamily="2" charset="0"/>
              <a:buChar char="›"/>
            </a:pPr>
            <a:r>
              <a:rPr lang="en-US" sz="1600" dirty="0">
                <a:solidFill>
                  <a:schemeClr val="bg1"/>
                </a:solidFill>
              </a:rPr>
              <a:t>Predict performance and cost outcomes under realistic conditions.</a:t>
            </a:r>
          </a:p>
          <a:p>
            <a:pPr marL="285750" indent="-285750">
              <a:spcBef>
                <a:spcPct val="0"/>
              </a:spcBef>
              <a:spcAft>
                <a:spcPct val="0"/>
              </a:spcAft>
              <a:buClr>
                <a:schemeClr val="bg1">
                  <a:lumMod val="85000"/>
                </a:schemeClr>
              </a:buClr>
              <a:buSzPct val="130000"/>
              <a:buFont typeface="Crimson Pro" pitchFamily="2" charset="0"/>
              <a:buChar char="›"/>
            </a:pPr>
            <a:r>
              <a:rPr lang="en-US" sz="1600" dirty="0">
                <a:solidFill>
                  <a:schemeClr val="bg1"/>
                </a:solidFill>
              </a:rPr>
              <a:t>Compare redesign scenarios using a consistent model and data.</a:t>
            </a:r>
          </a:p>
          <a:p>
            <a:pPr marL="285750" indent="-285750">
              <a:spcBef>
                <a:spcPct val="0"/>
              </a:spcBef>
              <a:spcAft>
                <a:spcPct val="0"/>
              </a:spcAft>
              <a:buClr>
                <a:schemeClr val="bg1">
                  <a:lumMod val="85000"/>
                </a:schemeClr>
              </a:buClr>
              <a:buSzPct val="130000"/>
              <a:buFont typeface="Crimson Pro" pitchFamily="2" charset="0"/>
              <a:buChar char="›"/>
            </a:pPr>
            <a:r>
              <a:rPr lang="en-US" sz="1600" dirty="0">
                <a:solidFill>
                  <a:schemeClr val="bg1"/>
                </a:solidFill>
              </a:rPr>
              <a:t>Provide evidence that supports a formal investment decision and a phased adoption roadmap.</a:t>
            </a:r>
            <a:endParaRPr lang="en-DE" sz="1600" dirty="0">
              <a:solidFill>
                <a:schemeClr val="bg1"/>
              </a:solidFill>
            </a:endParaRPr>
          </a:p>
        </p:txBody>
      </p:sp>
      <p:pic>
        <p:nvPicPr>
          <p:cNvPr id="82" name="Graphic 81">
            <a:extLst>
              <a:ext uri="{FF2B5EF4-FFF2-40B4-BE49-F238E27FC236}">
                <a16:creationId xmlns:a16="http://schemas.microsoft.com/office/drawing/2014/main" id="{A3AD8E2C-AD34-4FC1-B020-05FE1BB4DE79}"/>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2643259" y="2444925"/>
            <a:ext cx="580960" cy="510112"/>
          </a:xfrm>
          <a:prstGeom prst="rect">
            <a:avLst/>
          </a:prstGeom>
        </p:spPr>
      </p:pic>
      <p:sp>
        <p:nvSpPr>
          <p:cNvPr id="83" name="Title 82">
            <a:extLst>
              <a:ext uri="{FF2B5EF4-FFF2-40B4-BE49-F238E27FC236}">
                <a16:creationId xmlns:a16="http://schemas.microsoft.com/office/drawing/2014/main" id="{849D33BA-89C4-42F8-9E0D-32C18200E6C1}"/>
              </a:ext>
            </a:extLst>
          </p:cNvPr>
          <p:cNvSpPr>
            <a:spLocks noGrp="1"/>
          </p:cNvSpPr>
          <p:nvPr>
            <p:ph type="title"/>
          </p:nvPr>
        </p:nvSpPr>
        <p:spPr/>
        <p:txBody>
          <a:bodyPr/>
          <a:lstStyle/>
          <a:p>
            <a:r>
              <a:rPr lang="en-US" dirty="0"/>
              <a:t>Use Case: Evidence-Based Automation Choice</a:t>
            </a:r>
            <a:endParaRPr lang="en-DE" dirty="0"/>
          </a:p>
        </p:txBody>
      </p:sp>
      <p:sp>
        <p:nvSpPr>
          <p:cNvPr id="8" name="Footer Placeholder 7">
            <a:extLst>
              <a:ext uri="{FF2B5EF4-FFF2-40B4-BE49-F238E27FC236}">
                <a16:creationId xmlns:a16="http://schemas.microsoft.com/office/drawing/2014/main" id="{046DE18E-8FFD-236B-6572-EFE29B229A96}"/>
              </a:ext>
            </a:extLst>
          </p:cNvPr>
          <p:cNvSpPr>
            <a:spLocks noGrp="1"/>
          </p:cNvSpPr>
          <p:nvPr>
            <p:ph type="ftr" sz="quarter" idx="13"/>
          </p:nvPr>
        </p:nvSpPr>
        <p:spPr/>
        <p:txBody>
          <a:bodyPr/>
          <a:lstStyle/>
          <a:p>
            <a:r>
              <a:rPr lang="en-DE"/>
              <a:t>© 2025 SAG ARIS GmbH. All rights reserved.</a:t>
            </a:r>
          </a:p>
        </p:txBody>
      </p:sp>
      <p:sp>
        <p:nvSpPr>
          <p:cNvPr id="7" name="Slide Number Placeholder 6">
            <a:extLst>
              <a:ext uri="{FF2B5EF4-FFF2-40B4-BE49-F238E27FC236}">
                <a16:creationId xmlns:a16="http://schemas.microsoft.com/office/drawing/2014/main" id="{0D7B2250-8497-7E54-1919-7F5BE6438C86}"/>
              </a:ext>
            </a:extLst>
          </p:cNvPr>
          <p:cNvSpPr>
            <a:spLocks noGrp="1"/>
          </p:cNvSpPr>
          <p:nvPr>
            <p:ph type="sldNum" sz="quarter" idx="14"/>
          </p:nvPr>
        </p:nvSpPr>
        <p:spPr/>
        <p:txBody>
          <a:bodyPr/>
          <a:lstStyle/>
          <a:p>
            <a:fld id="{22FF84AA-2C76-4AF1-8502-73D25D47F37C}" type="slidenum">
              <a:rPr lang="en-DE" noProof="0" smtClean="0"/>
              <a:pPr/>
              <a:t>8</a:t>
            </a:fld>
            <a:endParaRPr lang="en-DE" noProof="0"/>
          </a:p>
        </p:txBody>
      </p:sp>
      <p:sp>
        <p:nvSpPr>
          <p:cNvPr id="84" name="MIO_CONVERT_SLIDES_SUBTITLE">
            <a:extLst>
              <a:ext uri="{FF2B5EF4-FFF2-40B4-BE49-F238E27FC236}">
                <a16:creationId xmlns:a16="http://schemas.microsoft.com/office/drawing/2014/main" id="{7B2E71CB-478C-4FF3-AF6A-BA4778D6C341}"/>
              </a:ext>
            </a:extLst>
          </p:cNvPr>
          <p:cNvSpPr>
            <a:spLocks noGrp="1"/>
          </p:cNvSpPr>
          <p:nvPr>
            <p:ph type="subTitle" sz="quarter" idx="1"/>
          </p:nvPr>
        </p:nvSpPr>
        <p:spPr/>
        <p:txBody>
          <a:bodyPr/>
          <a:lstStyle/>
          <a:p>
            <a:r>
              <a:rPr lang="en-US" dirty="0"/>
              <a:t>The Way Forward</a:t>
            </a:r>
            <a:endParaRPr lang="en-DE" dirty="0"/>
          </a:p>
        </p:txBody>
      </p:sp>
      <p:grpSp>
        <p:nvGrpSpPr>
          <p:cNvPr id="2" name="Group 1">
            <a:extLst>
              <a:ext uri="{FF2B5EF4-FFF2-40B4-BE49-F238E27FC236}">
                <a16:creationId xmlns:a16="http://schemas.microsoft.com/office/drawing/2014/main" id="{223016F7-86EF-5828-B22C-52D0C28E090B}"/>
              </a:ext>
            </a:extLst>
          </p:cNvPr>
          <p:cNvGrpSpPr/>
          <p:nvPr/>
        </p:nvGrpSpPr>
        <p:grpSpPr>
          <a:xfrm>
            <a:off x="555600" y="4266176"/>
            <a:ext cx="1263600" cy="1263600"/>
            <a:chOff x="4930775" y="1601788"/>
            <a:chExt cx="2336800" cy="2330450"/>
          </a:xfrm>
          <a:solidFill>
            <a:schemeClr val="bg2"/>
          </a:solidFill>
          <a:effectLst/>
        </p:grpSpPr>
        <p:sp>
          <p:nvSpPr>
            <p:cNvPr id="3" name="Freeform 5">
              <a:extLst>
                <a:ext uri="{FF2B5EF4-FFF2-40B4-BE49-F238E27FC236}">
                  <a16:creationId xmlns:a16="http://schemas.microsoft.com/office/drawing/2014/main" id="{CB235CC8-87FA-2B87-28C8-20CFAEC97756}"/>
                </a:ext>
              </a:extLst>
            </p:cNvPr>
            <p:cNvSpPr/>
            <p:nvPr/>
          </p:nvSpPr>
          <p:spPr bwMode="auto">
            <a:xfrm>
              <a:off x="6183313" y="3249613"/>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4" name="Freeform 6">
              <a:extLst>
                <a:ext uri="{FF2B5EF4-FFF2-40B4-BE49-F238E27FC236}">
                  <a16:creationId xmlns:a16="http://schemas.microsoft.com/office/drawing/2014/main" id="{71DC25EB-AB8C-5B17-AA3D-9634D4551BB1}"/>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5" name="Freeform 7">
              <a:extLst>
                <a:ext uri="{FF2B5EF4-FFF2-40B4-BE49-F238E27FC236}">
                  <a16:creationId xmlns:a16="http://schemas.microsoft.com/office/drawing/2014/main" id="{D9ADCB8F-80FE-FD6C-4740-6A200E747924}"/>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86" name="Freeform 8">
              <a:extLst>
                <a:ext uri="{FF2B5EF4-FFF2-40B4-BE49-F238E27FC236}">
                  <a16:creationId xmlns:a16="http://schemas.microsoft.com/office/drawing/2014/main" id="{7AD209DA-8378-30E0-1F5F-411F6A8D0529}"/>
                </a:ext>
              </a:extLst>
            </p:cNvPr>
            <p:cNvSpPr/>
            <p:nvPr/>
          </p:nvSpPr>
          <p:spPr bwMode="auto">
            <a:xfrm>
              <a:off x="5130800"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88" name="Freeform 9">
              <a:extLst>
                <a:ext uri="{FF2B5EF4-FFF2-40B4-BE49-F238E27FC236}">
                  <a16:creationId xmlns:a16="http://schemas.microsoft.com/office/drawing/2014/main" id="{921D3447-3CE9-CF9C-4663-86EB817182CB}"/>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89" name="Freeform 10">
              <a:extLst>
                <a:ext uri="{FF2B5EF4-FFF2-40B4-BE49-F238E27FC236}">
                  <a16:creationId xmlns:a16="http://schemas.microsoft.com/office/drawing/2014/main" id="{AA2FFF28-9ECA-5E9A-46BC-2378A49C105A}"/>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91" name="TextBox 90">
            <a:extLst>
              <a:ext uri="{FF2B5EF4-FFF2-40B4-BE49-F238E27FC236}">
                <a16:creationId xmlns:a16="http://schemas.microsoft.com/office/drawing/2014/main" id="{B881FF86-3C46-34A7-8A98-7145777CC828}"/>
              </a:ext>
            </a:extLst>
          </p:cNvPr>
          <p:cNvSpPr txBox="1"/>
          <p:nvPr/>
        </p:nvSpPr>
        <p:spPr>
          <a:xfrm>
            <a:off x="534821" y="5688885"/>
            <a:ext cx="1442407"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dirty="0"/>
              <a:t>Design your process</a:t>
            </a:r>
            <a:endParaRPr lang="en-DE" sz="1100" dirty="0"/>
          </a:p>
        </p:txBody>
      </p:sp>
      <p:pic>
        <p:nvPicPr>
          <p:cNvPr id="92" name="Graphic 91">
            <a:extLst>
              <a:ext uri="{FF2B5EF4-FFF2-40B4-BE49-F238E27FC236}">
                <a16:creationId xmlns:a16="http://schemas.microsoft.com/office/drawing/2014/main" id="{A900EDC9-CBFC-840F-31DF-D97DD0D4E9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7331" y="4707702"/>
            <a:ext cx="410507" cy="410507"/>
          </a:xfrm>
          <a:prstGeom prst="rect">
            <a:avLst/>
          </a:prstGeom>
        </p:spPr>
      </p:pic>
      <p:sp>
        <p:nvSpPr>
          <p:cNvPr id="93" name="TextBox 92">
            <a:extLst>
              <a:ext uri="{FF2B5EF4-FFF2-40B4-BE49-F238E27FC236}">
                <a16:creationId xmlns:a16="http://schemas.microsoft.com/office/drawing/2014/main" id="{17C8B3D8-45BB-BFB4-B4E7-65E1407E7FA3}"/>
              </a:ext>
            </a:extLst>
          </p:cNvPr>
          <p:cNvSpPr txBox="1"/>
          <p:nvPr/>
        </p:nvSpPr>
        <p:spPr>
          <a:xfrm>
            <a:off x="457282"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1</a:t>
            </a:r>
          </a:p>
        </p:txBody>
      </p:sp>
      <p:grpSp>
        <p:nvGrpSpPr>
          <p:cNvPr id="94" name="Group 93">
            <a:extLst>
              <a:ext uri="{FF2B5EF4-FFF2-40B4-BE49-F238E27FC236}">
                <a16:creationId xmlns:a16="http://schemas.microsoft.com/office/drawing/2014/main" id="{805036E2-752A-F0BF-A741-84C14E482BC8}"/>
              </a:ext>
            </a:extLst>
          </p:cNvPr>
          <p:cNvGrpSpPr/>
          <p:nvPr/>
        </p:nvGrpSpPr>
        <p:grpSpPr>
          <a:xfrm>
            <a:off x="2519040" y="4266176"/>
            <a:ext cx="1263600" cy="1263600"/>
            <a:chOff x="4930775" y="1601788"/>
            <a:chExt cx="2336800" cy="2330450"/>
          </a:xfrm>
          <a:solidFill>
            <a:schemeClr val="bg2"/>
          </a:solidFill>
          <a:effectLst/>
        </p:grpSpPr>
        <p:sp>
          <p:nvSpPr>
            <p:cNvPr id="95" name="Freeform 5">
              <a:extLst>
                <a:ext uri="{FF2B5EF4-FFF2-40B4-BE49-F238E27FC236}">
                  <a16:creationId xmlns:a16="http://schemas.microsoft.com/office/drawing/2014/main" id="{A667DE76-F229-DBFE-E64E-3E039266EB70}"/>
                </a:ext>
              </a:extLst>
            </p:cNvPr>
            <p:cNvSpPr/>
            <p:nvPr/>
          </p:nvSpPr>
          <p:spPr bwMode="auto">
            <a:xfrm>
              <a:off x="6183313" y="3249613"/>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96" name="Freeform 6">
              <a:extLst>
                <a:ext uri="{FF2B5EF4-FFF2-40B4-BE49-F238E27FC236}">
                  <a16:creationId xmlns:a16="http://schemas.microsoft.com/office/drawing/2014/main" id="{16FBBFC5-A5EC-82C8-C074-3A2D818AF724}"/>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97" name="Freeform 7">
              <a:extLst>
                <a:ext uri="{FF2B5EF4-FFF2-40B4-BE49-F238E27FC236}">
                  <a16:creationId xmlns:a16="http://schemas.microsoft.com/office/drawing/2014/main" id="{23561182-F2C9-ED47-E2F3-0A5D34A8023E}"/>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98" name="Freeform 8">
              <a:extLst>
                <a:ext uri="{FF2B5EF4-FFF2-40B4-BE49-F238E27FC236}">
                  <a16:creationId xmlns:a16="http://schemas.microsoft.com/office/drawing/2014/main" id="{E20E75E2-E8C6-A97C-FAA1-F967AA167D0B}"/>
                </a:ext>
              </a:extLst>
            </p:cNvPr>
            <p:cNvSpPr/>
            <p:nvPr/>
          </p:nvSpPr>
          <p:spPr bwMode="auto">
            <a:xfrm>
              <a:off x="5130800"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99" name="Freeform 9">
              <a:extLst>
                <a:ext uri="{FF2B5EF4-FFF2-40B4-BE49-F238E27FC236}">
                  <a16:creationId xmlns:a16="http://schemas.microsoft.com/office/drawing/2014/main" id="{ABAEC7F5-112A-9EFF-1AEE-D6CA4FD41A03}"/>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00" name="Freeform 10">
              <a:extLst>
                <a:ext uri="{FF2B5EF4-FFF2-40B4-BE49-F238E27FC236}">
                  <a16:creationId xmlns:a16="http://schemas.microsoft.com/office/drawing/2014/main" id="{DE0F1FB1-CEB6-1516-A0D4-4A8E71FC26A9}"/>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101" name="TextBox 100">
            <a:extLst>
              <a:ext uri="{FF2B5EF4-FFF2-40B4-BE49-F238E27FC236}">
                <a16:creationId xmlns:a16="http://schemas.microsoft.com/office/drawing/2014/main" id="{04E54BCF-AF7B-616F-BE1B-D2C63E2F1CC8}"/>
              </a:ext>
            </a:extLst>
          </p:cNvPr>
          <p:cNvSpPr txBox="1"/>
          <p:nvPr/>
        </p:nvSpPr>
        <p:spPr>
          <a:xfrm>
            <a:off x="2485298" y="5688885"/>
            <a:ext cx="1442407"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a:t>Enrich your process with Simulation relevant details</a:t>
            </a:r>
            <a:endParaRPr lang="en-DE" sz="1100"/>
          </a:p>
        </p:txBody>
      </p:sp>
      <p:pic>
        <p:nvPicPr>
          <p:cNvPr id="102" name="Graphic 101">
            <a:extLst>
              <a:ext uri="{FF2B5EF4-FFF2-40B4-BE49-F238E27FC236}">
                <a16:creationId xmlns:a16="http://schemas.microsoft.com/office/drawing/2014/main" id="{7ED83754-83AC-9864-26DA-42FB5F0BDC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01465" y="4707702"/>
            <a:ext cx="410507" cy="410507"/>
          </a:xfrm>
          <a:prstGeom prst="rect">
            <a:avLst/>
          </a:prstGeom>
        </p:spPr>
      </p:pic>
      <p:sp>
        <p:nvSpPr>
          <p:cNvPr id="103" name="TextBox 102">
            <a:extLst>
              <a:ext uri="{FF2B5EF4-FFF2-40B4-BE49-F238E27FC236}">
                <a16:creationId xmlns:a16="http://schemas.microsoft.com/office/drawing/2014/main" id="{E85023D3-2F1D-3393-8551-7CDAC57B0870}"/>
              </a:ext>
            </a:extLst>
          </p:cNvPr>
          <p:cNvSpPr txBox="1"/>
          <p:nvPr/>
        </p:nvSpPr>
        <p:spPr>
          <a:xfrm>
            <a:off x="2417254"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2</a:t>
            </a:r>
          </a:p>
        </p:txBody>
      </p:sp>
      <p:grpSp>
        <p:nvGrpSpPr>
          <p:cNvPr id="104" name="Group 103">
            <a:extLst>
              <a:ext uri="{FF2B5EF4-FFF2-40B4-BE49-F238E27FC236}">
                <a16:creationId xmlns:a16="http://schemas.microsoft.com/office/drawing/2014/main" id="{C3EEA0BC-D29C-5F6B-2D63-A773607C1249}"/>
              </a:ext>
            </a:extLst>
          </p:cNvPr>
          <p:cNvGrpSpPr/>
          <p:nvPr/>
        </p:nvGrpSpPr>
        <p:grpSpPr>
          <a:xfrm>
            <a:off x="4482480" y="4266176"/>
            <a:ext cx="1263600" cy="1263600"/>
            <a:chOff x="4930775" y="1601788"/>
            <a:chExt cx="2336800" cy="2330450"/>
          </a:xfrm>
          <a:solidFill>
            <a:schemeClr val="bg2"/>
          </a:solidFill>
          <a:effectLst/>
        </p:grpSpPr>
        <p:sp>
          <p:nvSpPr>
            <p:cNvPr id="105" name="Freeform 5">
              <a:extLst>
                <a:ext uri="{FF2B5EF4-FFF2-40B4-BE49-F238E27FC236}">
                  <a16:creationId xmlns:a16="http://schemas.microsoft.com/office/drawing/2014/main" id="{0597E469-4185-1E1E-58AC-339EB16ABFC1}"/>
                </a:ext>
              </a:extLst>
            </p:cNvPr>
            <p:cNvSpPr/>
            <p:nvPr/>
          </p:nvSpPr>
          <p:spPr bwMode="auto">
            <a:xfrm>
              <a:off x="6183313" y="3249613"/>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06" name="Freeform 6">
              <a:extLst>
                <a:ext uri="{FF2B5EF4-FFF2-40B4-BE49-F238E27FC236}">
                  <a16:creationId xmlns:a16="http://schemas.microsoft.com/office/drawing/2014/main" id="{8868F398-497E-1E12-0996-736470F44C2A}"/>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07" name="Freeform 7">
              <a:extLst>
                <a:ext uri="{FF2B5EF4-FFF2-40B4-BE49-F238E27FC236}">
                  <a16:creationId xmlns:a16="http://schemas.microsoft.com/office/drawing/2014/main" id="{A76E7B81-004D-3429-DE6F-76E89EDDAAC8}"/>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08" name="Freeform 8">
              <a:extLst>
                <a:ext uri="{FF2B5EF4-FFF2-40B4-BE49-F238E27FC236}">
                  <a16:creationId xmlns:a16="http://schemas.microsoft.com/office/drawing/2014/main" id="{74A8CFB6-06F8-EB4E-E958-8D4CEED0DBBB}"/>
                </a:ext>
              </a:extLst>
            </p:cNvPr>
            <p:cNvSpPr/>
            <p:nvPr/>
          </p:nvSpPr>
          <p:spPr bwMode="auto">
            <a:xfrm>
              <a:off x="5130800"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09" name="Freeform 9">
              <a:extLst>
                <a:ext uri="{FF2B5EF4-FFF2-40B4-BE49-F238E27FC236}">
                  <a16:creationId xmlns:a16="http://schemas.microsoft.com/office/drawing/2014/main" id="{F00D1E09-386F-8FBD-B388-8D6603BE298E}"/>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10" name="Freeform 10">
              <a:extLst>
                <a:ext uri="{FF2B5EF4-FFF2-40B4-BE49-F238E27FC236}">
                  <a16:creationId xmlns:a16="http://schemas.microsoft.com/office/drawing/2014/main" id="{0D2C9455-9A5D-462B-218C-74164E39261E}"/>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111" name="TextBox 110">
            <a:extLst>
              <a:ext uri="{FF2B5EF4-FFF2-40B4-BE49-F238E27FC236}">
                <a16:creationId xmlns:a16="http://schemas.microsoft.com/office/drawing/2014/main" id="{B05D889B-7217-6A6C-F0DE-7B3DBD73C1D9}"/>
              </a:ext>
            </a:extLst>
          </p:cNvPr>
          <p:cNvSpPr txBox="1"/>
          <p:nvPr/>
        </p:nvSpPr>
        <p:spPr>
          <a:xfrm>
            <a:off x="4419786" y="5688885"/>
            <a:ext cx="1442407"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a:t>Specify your simulation project and scenarios</a:t>
            </a:r>
            <a:endParaRPr lang="en-DE" sz="1100"/>
          </a:p>
        </p:txBody>
      </p:sp>
      <p:pic>
        <p:nvPicPr>
          <p:cNvPr id="112" name="Graphic 111">
            <a:extLst>
              <a:ext uri="{FF2B5EF4-FFF2-40B4-BE49-F238E27FC236}">
                <a16:creationId xmlns:a16="http://schemas.microsoft.com/office/drawing/2014/main" id="{0ACD02A1-B769-DFF8-B204-616D9ED5FF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26936" y="4682478"/>
            <a:ext cx="410507" cy="410507"/>
          </a:xfrm>
          <a:prstGeom prst="rect">
            <a:avLst/>
          </a:prstGeom>
        </p:spPr>
      </p:pic>
      <p:sp>
        <p:nvSpPr>
          <p:cNvPr id="113" name="TextBox 112">
            <a:extLst>
              <a:ext uri="{FF2B5EF4-FFF2-40B4-BE49-F238E27FC236}">
                <a16:creationId xmlns:a16="http://schemas.microsoft.com/office/drawing/2014/main" id="{950630F3-4FC2-79CA-BE16-6218452AC07F}"/>
              </a:ext>
            </a:extLst>
          </p:cNvPr>
          <p:cNvSpPr txBox="1"/>
          <p:nvPr/>
        </p:nvSpPr>
        <p:spPr>
          <a:xfrm>
            <a:off x="4367732"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3</a:t>
            </a:r>
          </a:p>
        </p:txBody>
      </p:sp>
      <p:grpSp>
        <p:nvGrpSpPr>
          <p:cNvPr id="114" name="Group 113">
            <a:extLst>
              <a:ext uri="{FF2B5EF4-FFF2-40B4-BE49-F238E27FC236}">
                <a16:creationId xmlns:a16="http://schemas.microsoft.com/office/drawing/2014/main" id="{03D9D191-106C-282E-D356-1C40C49A5256}"/>
              </a:ext>
            </a:extLst>
          </p:cNvPr>
          <p:cNvGrpSpPr/>
          <p:nvPr/>
        </p:nvGrpSpPr>
        <p:grpSpPr>
          <a:xfrm>
            <a:off x="6445920" y="4266176"/>
            <a:ext cx="1263600" cy="1263600"/>
            <a:chOff x="4930775" y="1601788"/>
            <a:chExt cx="2336800" cy="2330450"/>
          </a:xfrm>
          <a:solidFill>
            <a:schemeClr val="bg2"/>
          </a:solidFill>
          <a:effectLst/>
        </p:grpSpPr>
        <p:sp>
          <p:nvSpPr>
            <p:cNvPr id="115" name="Freeform 5">
              <a:extLst>
                <a:ext uri="{FF2B5EF4-FFF2-40B4-BE49-F238E27FC236}">
                  <a16:creationId xmlns:a16="http://schemas.microsoft.com/office/drawing/2014/main" id="{D0E44A12-B3EB-5E79-5052-0F4B24B79C2F}"/>
                </a:ext>
              </a:extLst>
            </p:cNvPr>
            <p:cNvSpPr/>
            <p:nvPr/>
          </p:nvSpPr>
          <p:spPr bwMode="auto">
            <a:xfrm>
              <a:off x="6183313" y="3249613"/>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16" name="Freeform 6">
              <a:extLst>
                <a:ext uri="{FF2B5EF4-FFF2-40B4-BE49-F238E27FC236}">
                  <a16:creationId xmlns:a16="http://schemas.microsoft.com/office/drawing/2014/main" id="{C01774C7-6007-3662-E0AA-86712AF8046C}"/>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17" name="Freeform 7">
              <a:extLst>
                <a:ext uri="{FF2B5EF4-FFF2-40B4-BE49-F238E27FC236}">
                  <a16:creationId xmlns:a16="http://schemas.microsoft.com/office/drawing/2014/main" id="{484DC73E-63D4-526A-C60B-04EF663EFA48}"/>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18" name="Freeform 8">
              <a:extLst>
                <a:ext uri="{FF2B5EF4-FFF2-40B4-BE49-F238E27FC236}">
                  <a16:creationId xmlns:a16="http://schemas.microsoft.com/office/drawing/2014/main" id="{53DF1A26-08D0-72F6-0E2B-3740D5DE8610}"/>
                </a:ext>
              </a:extLst>
            </p:cNvPr>
            <p:cNvSpPr/>
            <p:nvPr/>
          </p:nvSpPr>
          <p:spPr bwMode="auto">
            <a:xfrm>
              <a:off x="5130800"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19" name="Freeform 9">
              <a:extLst>
                <a:ext uri="{FF2B5EF4-FFF2-40B4-BE49-F238E27FC236}">
                  <a16:creationId xmlns:a16="http://schemas.microsoft.com/office/drawing/2014/main" id="{0BE3F11C-9575-929B-5D3D-CD68F025A0A2}"/>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20" name="Freeform 10">
              <a:extLst>
                <a:ext uri="{FF2B5EF4-FFF2-40B4-BE49-F238E27FC236}">
                  <a16:creationId xmlns:a16="http://schemas.microsoft.com/office/drawing/2014/main" id="{758392A0-32D7-A1E0-D993-CB3FECBE9963}"/>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121" name="TextBox 120">
            <a:extLst>
              <a:ext uri="{FF2B5EF4-FFF2-40B4-BE49-F238E27FC236}">
                <a16:creationId xmlns:a16="http://schemas.microsoft.com/office/drawing/2014/main" id="{4E7836B1-03E0-4B21-4EF0-8C2DF7967A4B}"/>
              </a:ext>
            </a:extLst>
          </p:cNvPr>
          <p:cNvSpPr txBox="1"/>
          <p:nvPr/>
        </p:nvSpPr>
        <p:spPr>
          <a:xfrm>
            <a:off x="6424915" y="5688885"/>
            <a:ext cx="1442407"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a:t>Perform the Simulation</a:t>
            </a:r>
            <a:endParaRPr lang="en-DE" sz="1100"/>
          </a:p>
        </p:txBody>
      </p:sp>
      <p:pic>
        <p:nvPicPr>
          <p:cNvPr id="122" name="Graphic 121">
            <a:extLst>
              <a:ext uri="{FF2B5EF4-FFF2-40B4-BE49-F238E27FC236}">
                <a16:creationId xmlns:a16="http://schemas.microsoft.com/office/drawing/2014/main" id="{3B867363-F1E9-F0B7-99BB-34FA0053E6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917963" y="4782230"/>
            <a:ext cx="410507" cy="260321"/>
          </a:xfrm>
          <a:prstGeom prst="rect">
            <a:avLst/>
          </a:prstGeom>
        </p:spPr>
      </p:pic>
      <p:sp>
        <p:nvSpPr>
          <p:cNvPr id="123" name="TextBox 122">
            <a:extLst>
              <a:ext uri="{FF2B5EF4-FFF2-40B4-BE49-F238E27FC236}">
                <a16:creationId xmlns:a16="http://schemas.microsoft.com/office/drawing/2014/main" id="{5D9E89B4-0F1C-BF6C-679B-9B9924FC3E89}"/>
              </a:ext>
            </a:extLst>
          </p:cNvPr>
          <p:cNvSpPr txBox="1"/>
          <p:nvPr/>
        </p:nvSpPr>
        <p:spPr>
          <a:xfrm>
            <a:off x="6302220"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4</a:t>
            </a:r>
          </a:p>
        </p:txBody>
      </p:sp>
      <p:grpSp>
        <p:nvGrpSpPr>
          <p:cNvPr id="124" name="Group 123">
            <a:extLst>
              <a:ext uri="{FF2B5EF4-FFF2-40B4-BE49-F238E27FC236}">
                <a16:creationId xmlns:a16="http://schemas.microsoft.com/office/drawing/2014/main" id="{61870AF4-3A70-49CB-33C6-26C6D0805832}"/>
              </a:ext>
            </a:extLst>
          </p:cNvPr>
          <p:cNvGrpSpPr/>
          <p:nvPr/>
        </p:nvGrpSpPr>
        <p:grpSpPr>
          <a:xfrm>
            <a:off x="8409360" y="4266176"/>
            <a:ext cx="1263600" cy="1263600"/>
            <a:chOff x="4930775" y="1601788"/>
            <a:chExt cx="2336800" cy="2330450"/>
          </a:xfrm>
          <a:solidFill>
            <a:schemeClr val="bg2"/>
          </a:solidFill>
          <a:effectLst/>
        </p:grpSpPr>
        <p:sp>
          <p:nvSpPr>
            <p:cNvPr id="125" name="Freeform 5">
              <a:extLst>
                <a:ext uri="{FF2B5EF4-FFF2-40B4-BE49-F238E27FC236}">
                  <a16:creationId xmlns:a16="http://schemas.microsoft.com/office/drawing/2014/main" id="{BC414BEA-3706-8F2D-B213-6FD9E0B6F91D}"/>
                </a:ext>
              </a:extLst>
            </p:cNvPr>
            <p:cNvSpPr/>
            <p:nvPr/>
          </p:nvSpPr>
          <p:spPr bwMode="auto">
            <a:xfrm>
              <a:off x="6183313" y="3249613"/>
              <a:ext cx="884238" cy="682625"/>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26" name="Freeform 6">
              <a:extLst>
                <a:ext uri="{FF2B5EF4-FFF2-40B4-BE49-F238E27FC236}">
                  <a16:creationId xmlns:a16="http://schemas.microsoft.com/office/drawing/2014/main" id="{01DB3DA9-3075-7257-BD5F-FC4517977278}"/>
                </a:ext>
              </a:extLst>
            </p:cNvPr>
            <p:cNvSpPr/>
            <p:nvPr/>
          </p:nvSpPr>
          <p:spPr bwMode="auto">
            <a:xfrm>
              <a:off x="6183313" y="1601788"/>
              <a:ext cx="884238" cy="682625"/>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27" name="Freeform 7">
              <a:extLst>
                <a:ext uri="{FF2B5EF4-FFF2-40B4-BE49-F238E27FC236}">
                  <a16:creationId xmlns:a16="http://schemas.microsoft.com/office/drawing/2014/main" id="{2F272513-8027-E7BC-D1F5-AA377EE1F0A7}"/>
                </a:ext>
              </a:extLst>
            </p:cNvPr>
            <p:cNvSpPr/>
            <p:nvPr/>
          </p:nvSpPr>
          <p:spPr bwMode="auto">
            <a:xfrm>
              <a:off x="4930775" y="2259013"/>
              <a:ext cx="412750" cy="1020763"/>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28" name="Freeform 8">
              <a:extLst>
                <a:ext uri="{FF2B5EF4-FFF2-40B4-BE49-F238E27FC236}">
                  <a16:creationId xmlns:a16="http://schemas.microsoft.com/office/drawing/2014/main" id="{45DC9355-77F0-ABBE-78AC-4321707C358A}"/>
                </a:ext>
              </a:extLst>
            </p:cNvPr>
            <p:cNvSpPr/>
            <p:nvPr/>
          </p:nvSpPr>
          <p:spPr bwMode="auto">
            <a:xfrm>
              <a:off x="5130800" y="1601788"/>
              <a:ext cx="884238" cy="682625"/>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29" name="Freeform 9">
              <a:extLst>
                <a:ext uri="{FF2B5EF4-FFF2-40B4-BE49-F238E27FC236}">
                  <a16:creationId xmlns:a16="http://schemas.microsoft.com/office/drawing/2014/main" id="{5049C965-9A51-3E25-4067-98F614AE451D}"/>
                </a:ext>
              </a:extLst>
            </p:cNvPr>
            <p:cNvSpPr/>
            <p:nvPr/>
          </p:nvSpPr>
          <p:spPr bwMode="auto">
            <a:xfrm>
              <a:off x="5130800" y="3249613"/>
              <a:ext cx="884238" cy="682625"/>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30" name="Freeform 10">
              <a:extLst>
                <a:ext uri="{FF2B5EF4-FFF2-40B4-BE49-F238E27FC236}">
                  <a16:creationId xmlns:a16="http://schemas.microsoft.com/office/drawing/2014/main" id="{3791C389-A7EF-05BF-8C0F-5755EFD58391}"/>
                </a:ext>
              </a:extLst>
            </p:cNvPr>
            <p:cNvSpPr/>
            <p:nvPr/>
          </p:nvSpPr>
          <p:spPr bwMode="auto">
            <a:xfrm>
              <a:off x="6854825" y="2259013"/>
              <a:ext cx="412750" cy="1020763"/>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131" name="TextBox 130">
            <a:extLst>
              <a:ext uri="{FF2B5EF4-FFF2-40B4-BE49-F238E27FC236}">
                <a16:creationId xmlns:a16="http://schemas.microsoft.com/office/drawing/2014/main" id="{AE808EC8-E2E8-50C6-1D8F-EE5FE588F4CF}"/>
              </a:ext>
            </a:extLst>
          </p:cNvPr>
          <p:cNvSpPr txBox="1"/>
          <p:nvPr/>
        </p:nvSpPr>
        <p:spPr>
          <a:xfrm>
            <a:off x="8339711" y="5688885"/>
            <a:ext cx="1442407"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a:t>Analyze the Simulation outcome</a:t>
            </a:r>
            <a:endParaRPr lang="en-DE" sz="1100"/>
          </a:p>
        </p:txBody>
      </p:sp>
      <p:pic>
        <p:nvPicPr>
          <p:cNvPr id="132" name="Graphic 131">
            <a:extLst>
              <a:ext uri="{FF2B5EF4-FFF2-40B4-BE49-F238E27FC236}">
                <a16:creationId xmlns:a16="http://schemas.microsoft.com/office/drawing/2014/main" id="{406194E4-20AE-1060-7AB1-AE09EAB251B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02357" y="4707702"/>
            <a:ext cx="410507" cy="410507"/>
          </a:xfrm>
          <a:prstGeom prst="rect">
            <a:avLst/>
          </a:prstGeom>
        </p:spPr>
      </p:pic>
      <p:sp>
        <p:nvSpPr>
          <p:cNvPr id="133" name="TextBox 132">
            <a:extLst>
              <a:ext uri="{FF2B5EF4-FFF2-40B4-BE49-F238E27FC236}">
                <a16:creationId xmlns:a16="http://schemas.microsoft.com/office/drawing/2014/main" id="{92A24643-E028-B727-2584-CFFE6DBB3615}"/>
              </a:ext>
            </a:extLst>
          </p:cNvPr>
          <p:cNvSpPr txBox="1"/>
          <p:nvPr/>
        </p:nvSpPr>
        <p:spPr>
          <a:xfrm>
            <a:off x="8307349"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5</a:t>
            </a:r>
          </a:p>
        </p:txBody>
      </p:sp>
      <p:grpSp>
        <p:nvGrpSpPr>
          <p:cNvPr id="134" name="Group 133">
            <a:extLst>
              <a:ext uri="{FF2B5EF4-FFF2-40B4-BE49-F238E27FC236}">
                <a16:creationId xmlns:a16="http://schemas.microsoft.com/office/drawing/2014/main" id="{EEC2D180-168C-6BB6-7C32-F980F7517E15}"/>
              </a:ext>
            </a:extLst>
          </p:cNvPr>
          <p:cNvGrpSpPr/>
          <p:nvPr/>
        </p:nvGrpSpPr>
        <p:grpSpPr>
          <a:xfrm>
            <a:off x="10372800" y="4266176"/>
            <a:ext cx="1263600" cy="1263600"/>
            <a:chOff x="10372800" y="4349230"/>
            <a:chExt cx="1263600" cy="1263600"/>
          </a:xfrm>
        </p:grpSpPr>
        <p:sp>
          <p:nvSpPr>
            <p:cNvPr id="135" name="Freeform 5">
              <a:extLst>
                <a:ext uri="{FF2B5EF4-FFF2-40B4-BE49-F238E27FC236}">
                  <a16:creationId xmlns:a16="http://schemas.microsoft.com/office/drawing/2014/main" id="{8371FD24-4AE9-2CF0-F7E1-EC62C496E7DB}"/>
                </a:ext>
              </a:extLst>
            </p:cNvPr>
            <p:cNvSpPr/>
            <p:nvPr/>
          </p:nvSpPr>
          <p:spPr bwMode="auto">
            <a:xfrm>
              <a:off x="11050097" y="5242702"/>
              <a:ext cx="478142" cy="370128"/>
            </a:xfrm>
            <a:custGeom>
              <a:avLst/>
              <a:gdLst>
                <a:gd name="T0" fmla="*/ 93 w 141"/>
                <a:gd name="T1" fmla="*/ 0 h 109"/>
                <a:gd name="T2" fmla="*/ 141 w 141"/>
                <a:gd name="T3" fmla="*/ 28 h 109"/>
                <a:gd name="T4" fmla="*/ 0 w 141"/>
                <a:gd name="T5" fmla="*/ 109 h 109"/>
                <a:gd name="T6" fmla="*/ 0 w 141"/>
                <a:gd name="T7" fmla="*/ 54 h 109"/>
                <a:gd name="T8" fmla="*/ 93 w 141"/>
                <a:gd name="T9" fmla="*/ 0 h 109"/>
              </a:gdLst>
              <a:ahLst/>
              <a:cxnLst>
                <a:cxn ang="0">
                  <a:pos x="T0" y="T1"/>
                </a:cxn>
                <a:cxn ang="0">
                  <a:pos x="T2" y="T3"/>
                </a:cxn>
                <a:cxn ang="0">
                  <a:pos x="T4" y="T5"/>
                </a:cxn>
                <a:cxn ang="0">
                  <a:pos x="T6" y="T7"/>
                </a:cxn>
                <a:cxn ang="0">
                  <a:pos x="T8" y="T9"/>
                </a:cxn>
              </a:cxnLst>
              <a:rect l="0" t="0" r="r" b="b"/>
              <a:pathLst>
                <a:path w="141" h="109">
                  <a:moveTo>
                    <a:pt x="93" y="0"/>
                  </a:moveTo>
                  <a:cubicBezTo>
                    <a:pt x="141" y="28"/>
                    <a:pt x="141" y="28"/>
                    <a:pt x="141" y="28"/>
                  </a:cubicBezTo>
                  <a:cubicBezTo>
                    <a:pt x="110" y="74"/>
                    <a:pt x="59" y="105"/>
                    <a:pt x="0" y="109"/>
                  </a:cubicBezTo>
                  <a:cubicBezTo>
                    <a:pt x="0" y="54"/>
                    <a:pt x="0" y="54"/>
                    <a:pt x="0" y="54"/>
                  </a:cubicBezTo>
                  <a:cubicBezTo>
                    <a:pt x="38" y="50"/>
                    <a:pt x="72" y="30"/>
                    <a:pt x="93" y="0"/>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36" name="Freeform 6">
              <a:extLst>
                <a:ext uri="{FF2B5EF4-FFF2-40B4-BE49-F238E27FC236}">
                  <a16:creationId xmlns:a16="http://schemas.microsoft.com/office/drawing/2014/main" id="{759B7885-ED68-DAC9-3C5F-30C1D4C3B4A0}"/>
                </a:ext>
              </a:extLst>
            </p:cNvPr>
            <p:cNvSpPr/>
            <p:nvPr/>
          </p:nvSpPr>
          <p:spPr bwMode="auto">
            <a:xfrm>
              <a:off x="11050097" y="4349230"/>
              <a:ext cx="478142" cy="370128"/>
            </a:xfrm>
            <a:custGeom>
              <a:avLst/>
              <a:gdLst>
                <a:gd name="T0" fmla="*/ 0 w 141"/>
                <a:gd name="T1" fmla="*/ 55 h 109"/>
                <a:gd name="T2" fmla="*/ 0 w 141"/>
                <a:gd name="T3" fmla="*/ 0 h 109"/>
                <a:gd name="T4" fmla="*/ 141 w 141"/>
                <a:gd name="T5" fmla="*/ 82 h 109"/>
                <a:gd name="T6" fmla="*/ 93 w 141"/>
                <a:gd name="T7" fmla="*/ 109 h 109"/>
                <a:gd name="T8" fmla="*/ 0 w 141"/>
                <a:gd name="T9" fmla="*/ 55 h 109"/>
              </a:gdLst>
              <a:ahLst/>
              <a:cxnLst>
                <a:cxn ang="0">
                  <a:pos x="T0" y="T1"/>
                </a:cxn>
                <a:cxn ang="0">
                  <a:pos x="T2" y="T3"/>
                </a:cxn>
                <a:cxn ang="0">
                  <a:pos x="T4" y="T5"/>
                </a:cxn>
                <a:cxn ang="0">
                  <a:pos x="T6" y="T7"/>
                </a:cxn>
                <a:cxn ang="0">
                  <a:pos x="T8" y="T9"/>
                </a:cxn>
              </a:cxnLst>
              <a:rect l="0" t="0" r="r" b="b"/>
              <a:pathLst>
                <a:path w="141" h="109">
                  <a:moveTo>
                    <a:pt x="0" y="55"/>
                  </a:moveTo>
                  <a:cubicBezTo>
                    <a:pt x="0" y="0"/>
                    <a:pt x="0" y="0"/>
                    <a:pt x="0" y="0"/>
                  </a:cubicBezTo>
                  <a:cubicBezTo>
                    <a:pt x="59" y="4"/>
                    <a:pt x="110" y="36"/>
                    <a:pt x="141" y="82"/>
                  </a:cubicBezTo>
                  <a:cubicBezTo>
                    <a:pt x="93" y="109"/>
                    <a:pt x="93" y="109"/>
                    <a:pt x="93" y="109"/>
                  </a:cubicBezTo>
                  <a:cubicBezTo>
                    <a:pt x="72" y="79"/>
                    <a:pt x="38" y="59"/>
                    <a:pt x="0" y="55"/>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37" name="Freeform 7">
              <a:extLst>
                <a:ext uri="{FF2B5EF4-FFF2-40B4-BE49-F238E27FC236}">
                  <a16:creationId xmlns:a16="http://schemas.microsoft.com/office/drawing/2014/main" id="{8E96437D-5AF7-D7CF-214B-9E072B7FDC04}"/>
                </a:ext>
              </a:extLst>
            </p:cNvPr>
            <p:cNvSpPr/>
            <p:nvPr/>
          </p:nvSpPr>
          <p:spPr bwMode="auto">
            <a:xfrm>
              <a:off x="10372800" y="4705586"/>
              <a:ext cx="223190" cy="553471"/>
            </a:xfrm>
            <a:custGeom>
              <a:avLst/>
              <a:gdLst>
                <a:gd name="T0" fmla="*/ 55 w 66"/>
                <a:gd name="T1" fmla="*/ 81 h 163"/>
                <a:gd name="T2" fmla="*/ 66 w 66"/>
                <a:gd name="T3" fmla="*/ 135 h 163"/>
                <a:gd name="T4" fmla="*/ 19 w 66"/>
                <a:gd name="T5" fmla="*/ 163 h 163"/>
                <a:gd name="T6" fmla="*/ 0 w 66"/>
                <a:gd name="T7" fmla="*/ 81 h 163"/>
                <a:gd name="T8" fmla="*/ 19 w 66"/>
                <a:gd name="T9" fmla="*/ 0 h 163"/>
                <a:gd name="T10" fmla="*/ 66 w 66"/>
                <a:gd name="T11" fmla="*/ 27 h 163"/>
                <a:gd name="T12" fmla="*/ 55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55" y="81"/>
                  </a:moveTo>
                  <a:cubicBezTo>
                    <a:pt x="55" y="100"/>
                    <a:pt x="59" y="119"/>
                    <a:pt x="66" y="135"/>
                  </a:cubicBezTo>
                  <a:cubicBezTo>
                    <a:pt x="19" y="163"/>
                    <a:pt x="19" y="163"/>
                    <a:pt x="19" y="163"/>
                  </a:cubicBezTo>
                  <a:cubicBezTo>
                    <a:pt x="7" y="138"/>
                    <a:pt x="0" y="110"/>
                    <a:pt x="0" y="81"/>
                  </a:cubicBezTo>
                  <a:cubicBezTo>
                    <a:pt x="0" y="52"/>
                    <a:pt x="7" y="24"/>
                    <a:pt x="19" y="0"/>
                  </a:cubicBezTo>
                  <a:cubicBezTo>
                    <a:pt x="66" y="27"/>
                    <a:pt x="66" y="27"/>
                    <a:pt x="66" y="27"/>
                  </a:cubicBezTo>
                  <a:cubicBezTo>
                    <a:pt x="59" y="44"/>
                    <a:pt x="55" y="62"/>
                    <a:pt x="55"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38" name="Freeform 8">
              <a:extLst>
                <a:ext uri="{FF2B5EF4-FFF2-40B4-BE49-F238E27FC236}">
                  <a16:creationId xmlns:a16="http://schemas.microsoft.com/office/drawing/2014/main" id="{502D81F4-310C-233E-22C8-96B7529FC7D6}"/>
                </a:ext>
              </a:extLst>
            </p:cNvPr>
            <p:cNvSpPr/>
            <p:nvPr/>
          </p:nvSpPr>
          <p:spPr bwMode="auto">
            <a:xfrm>
              <a:off x="10480961" y="4349230"/>
              <a:ext cx="478142" cy="370128"/>
            </a:xfrm>
            <a:custGeom>
              <a:avLst/>
              <a:gdLst>
                <a:gd name="T0" fmla="*/ 48 w 141"/>
                <a:gd name="T1" fmla="*/ 109 h 109"/>
                <a:gd name="T2" fmla="*/ 0 w 141"/>
                <a:gd name="T3" fmla="*/ 82 h 109"/>
                <a:gd name="T4" fmla="*/ 141 w 141"/>
                <a:gd name="T5" fmla="*/ 0 h 109"/>
                <a:gd name="T6" fmla="*/ 141 w 141"/>
                <a:gd name="T7" fmla="*/ 55 h 109"/>
                <a:gd name="T8" fmla="*/ 48 w 141"/>
                <a:gd name="T9" fmla="*/ 109 h 109"/>
              </a:gdLst>
              <a:ahLst/>
              <a:cxnLst>
                <a:cxn ang="0">
                  <a:pos x="T0" y="T1"/>
                </a:cxn>
                <a:cxn ang="0">
                  <a:pos x="T2" y="T3"/>
                </a:cxn>
                <a:cxn ang="0">
                  <a:pos x="T4" y="T5"/>
                </a:cxn>
                <a:cxn ang="0">
                  <a:pos x="T6" y="T7"/>
                </a:cxn>
                <a:cxn ang="0">
                  <a:pos x="T8" y="T9"/>
                </a:cxn>
              </a:cxnLst>
              <a:rect l="0" t="0" r="r" b="b"/>
              <a:pathLst>
                <a:path w="141" h="109">
                  <a:moveTo>
                    <a:pt x="48" y="109"/>
                  </a:moveTo>
                  <a:cubicBezTo>
                    <a:pt x="0" y="82"/>
                    <a:pt x="0" y="82"/>
                    <a:pt x="0" y="82"/>
                  </a:cubicBezTo>
                  <a:cubicBezTo>
                    <a:pt x="31" y="36"/>
                    <a:pt x="82" y="4"/>
                    <a:pt x="141" y="0"/>
                  </a:cubicBezTo>
                  <a:cubicBezTo>
                    <a:pt x="141" y="55"/>
                    <a:pt x="141" y="55"/>
                    <a:pt x="141" y="55"/>
                  </a:cubicBezTo>
                  <a:cubicBezTo>
                    <a:pt x="103" y="59"/>
                    <a:pt x="69" y="79"/>
                    <a:pt x="48" y="10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39" name="Freeform 9">
              <a:extLst>
                <a:ext uri="{FF2B5EF4-FFF2-40B4-BE49-F238E27FC236}">
                  <a16:creationId xmlns:a16="http://schemas.microsoft.com/office/drawing/2014/main" id="{A7374881-EEC5-4F75-571B-1D8E3200E0DE}"/>
                </a:ext>
              </a:extLst>
            </p:cNvPr>
            <p:cNvSpPr/>
            <p:nvPr/>
          </p:nvSpPr>
          <p:spPr bwMode="auto">
            <a:xfrm>
              <a:off x="10480961" y="5242702"/>
              <a:ext cx="478142" cy="370128"/>
            </a:xfrm>
            <a:custGeom>
              <a:avLst/>
              <a:gdLst>
                <a:gd name="T0" fmla="*/ 141 w 141"/>
                <a:gd name="T1" fmla="*/ 54 h 109"/>
                <a:gd name="T2" fmla="*/ 141 w 141"/>
                <a:gd name="T3" fmla="*/ 109 h 109"/>
                <a:gd name="T4" fmla="*/ 0 w 141"/>
                <a:gd name="T5" fmla="*/ 28 h 109"/>
                <a:gd name="T6" fmla="*/ 48 w 141"/>
                <a:gd name="T7" fmla="*/ 0 h 109"/>
                <a:gd name="T8" fmla="*/ 141 w 141"/>
                <a:gd name="T9" fmla="*/ 54 h 109"/>
              </a:gdLst>
              <a:ahLst/>
              <a:cxnLst>
                <a:cxn ang="0">
                  <a:pos x="T0" y="T1"/>
                </a:cxn>
                <a:cxn ang="0">
                  <a:pos x="T2" y="T3"/>
                </a:cxn>
                <a:cxn ang="0">
                  <a:pos x="T4" y="T5"/>
                </a:cxn>
                <a:cxn ang="0">
                  <a:pos x="T6" y="T7"/>
                </a:cxn>
                <a:cxn ang="0">
                  <a:pos x="T8" y="T9"/>
                </a:cxn>
              </a:cxnLst>
              <a:rect l="0" t="0" r="r" b="b"/>
              <a:pathLst>
                <a:path w="141" h="109">
                  <a:moveTo>
                    <a:pt x="141" y="54"/>
                  </a:moveTo>
                  <a:cubicBezTo>
                    <a:pt x="141" y="109"/>
                    <a:pt x="141" y="109"/>
                    <a:pt x="141" y="109"/>
                  </a:cubicBezTo>
                  <a:cubicBezTo>
                    <a:pt x="82" y="105"/>
                    <a:pt x="31" y="74"/>
                    <a:pt x="0" y="28"/>
                  </a:cubicBezTo>
                  <a:cubicBezTo>
                    <a:pt x="48" y="0"/>
                    <a:pt x="48" y="0"/>
                    <a:pt x="48" y="0"/>
                  </a:cubicBezTo>
                  <a:cubicBezTo>
                    <a:pt x="69" y="30"/>
                    <a:pt x="103" y="50"/>
                    <a:pt x="141" y="54"/>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sp>
          <p:nvSpPr>
            <p:cNvPr id="140" name="Freeform 10">
              <a:extLst>
                <a:ext uri="{FF2B5EF4-FFF2-40B4-BE49-F238E27FC236}">
                  <a16:creationId xmlns:a16="http://schemas.microsoft.com/office/drawing/2014/main" id="{B51FC818-FF2B-2D69-0FF4-F927C76F1841}"/>
                </a:ext>
              </a:extLst>
            </p:cNvPr>
            <p:cNvSpPr/>
            <p:nvPr/>
          </p:nvSpPr>
          <p:spPr bwMode="auto">
            <a:xfrm>
              <a:off x="11413210" y="4705586"/>
              <a:ext cx="223190" cy="553471"/>
            </a:xfrm>
            <a:custGeom>
              <a:avLst/>
              <a:gdLst>
                <a:gd name="T0" fmla="*/ 11 w 66"/>
                <a:gd name="T1" fmla="*/ 81 h 163"/>
                <a:gd name="T2" fmla="*/ 0 w 66"/>
                <a:gd name="T3" fmla="*/ 27 h 163"/>
                <a:gd name="T4" fmla="*/ 47 w 66"/>
                <a:gd name="T5" fmla="*/ 0 h 163"/>
                <a:gd name="T6" fmla="*/ 66 w 66"/>
                <a:gd name="T7" fmla="*/ 81 h 163"/>
                <a:gd name="T8" fmla="*/ 47 w 66"/>
                <a:gd name="T9" fmla="*/ 163 h 163"/>
                <a:gd name="T10" fmla="*/ 0 w 66"/>
                <a:gd name="T11" fmla="*/ 135 h 163"/>
                <a:gd name="T12" fmla="*/ 11 w 66"/>
                <a:gd name="T13" fmla="*/ 81 h 163"/>
              </a:gdLst>
              <a:ahLst/>
              <a:cxnLst>
                <a:cxn ang="0">
                  <a:pos x="T0" y="T1"/>
                </a:cxn>
                <a:cxn ang="0">
                  <a:pos x="T2" y="T3"/>
                </a:cxn>
                <a:cxn ang="0">
                  <a:pos x="T4" y="T5"/>
                </a:cxn>
                <a:cxn ang="0">
                  <a:pos x="T6" y="T7"/>
                </a:cxn>
                <a:cxn ang="0">
                  <a:pos x="T8" y="T9"/>
                </a:cxn>
                <a:cxn ang="0">
                  <a:pos x="T10" y="T11"/>
                </a:cxn>
                <a:cxn ang="0">
                  <a:pos x="T12" y="T13"/>
                </a:cxn>
              </a:cxnLst>
              <a:rect l="0" t="0" r="r" b="b"/>
              <a:pathLst>
                <a:path w="66" h="163">
                  <a:moveTo>
                    <a:pt x="11" y="81"/>
                  </a:moveTo>
                  <a:cubicBezTo>
                    <a:pt x="11" y="62"/>
                    <a:pt x="7" y="44"/>
                    <a:pt x="0" y="27"/>
                  </a:cubicBezTo>
                  <a:cubicBezTo>
                    <a:pt x="47" y="0"/>
                    <a:pt x="47" y="0"/>
                    <a:pt x="47" y="0"/>
                  </a:cubicBezTo>
                  <a:cubicBezTo>
                    <a:pt x="59" y="24"/>
                    <a:pt x="66" y="52"/>
                    <a:pt x="66" y="81"/>
                  </a:cubicBezTo>
                  <a:cubicBezTo>
                    <a:pt x="66" y="110"/>
                    <a:pt x="59" y="138"/>
                    <a:pt x="47" y="163"/>
                  </a:cubicBezTo>
                  <a:cubicBezTo>
                    <a:pt x="0" y="135"/>
                    <a:pt x="0" y="135"/>
                    <a:pt x="0" y="135"/>
                  </a:cubicBezTo>
                  <a:cubicBezTo>
                    <a:pt x="7" y="119"/>
                    <a:pt x="11" y="100"/>
                    <a:pt x="11" y="81"/>
                  </a:cubicBezTo>
                  <a:close/>
                </a:path>
              </a:pathLst>
            </a:custGeom>
            <a:solidFill>
              <a:srgbClr val="E6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endParaRPr lang="en-DE" sz="2489">
                <a:solidFill>
                  <a:prstClr val="black"/>
                </a:solidFill>
              </a:endParaRPr>
            </a:p>
          </p:txBody>
        </p:sp>
      </p:grpSp>
      <p:sp>
        <p:nvSpPr>
          <p:cNvPr id="141" name="TextBox 140">
            <a:extLst>
              <a:ext uri="{FF2B5EF4-FFF2-40B4-BE49-F238E27FC236}">
                <a16:creationId xmlns:a16="http://schemas.microsoft.com/office/drawing/2014/main" id="{F0E6E5A3-19EA-16B6-A66D-3091042C9FE0}"/>
              </a:ext>
            </a:extLst>
          </p:cNvPr>
          <p:cNvSpPr txBox="1"/>
          <p:nvPr/>
        </p:nvSpPr>
        <p:spPr>
          <a:xfrm>
            <a:off x="10222142" y="5681300"/>
            <a:ext cx="1512579" cy="328423"/>
          </a:xfrm>
          <a:prstGeom prst="rect">
            <a:avLst/>
          </a:prstGeom>
          <a:noFill/>
          <a:ln w="6350">
            <a:noFill/>
            <a:prstDash val="dash"/>
          </a:ln>
        </p:spPr>
        <p:txBody>
          <a:bodyPr wrap="square" lIns="0" tIns="0" rIns="0" bIns="0" rtlCol="0">
            <a:no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lgn="ctr"/>
            <a:r>
              <a:rPr lang="en-US" sz="1100" dirty="0"/>
              <a:t>Derive findings, validate assumptions and generate learnings</a:t>
            </a:r>
            <a:endParaRPr lang="en-DE" sz="1100" dirty="0"/>
          </a:p>
        </p:txBody>
      </p:sp>
      <p:pic>
        <p:nvPicPr>
          <p:cNvPr id="142" name="Graphic 141">
            <a:extLst>
              <a:ext uri="{FF2B5EF4-FFF2-40B4-BE49-F238E27FC236}">
                <a16:creationId xmlns:a16="http://schemas.microsoft.com/office/drawing/2014/main" id="{3B129DA7-5BA0-9304-0821-27DE58CF8F1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837619" y="4712709"/>
            <a:ext cx="410507" cy="400495"/>
          </a:xfrm>
          <a:prstGeom prst="rect">
            <a:avLst/>
          </a:prstGeom>
        </p:spPr>
      </p:pic>
      <p:sp>
        <p:nvSpPr>
          <p:cNvPr id="143" name="TextBox 142">
            <a:extLst>
              <a:ext uri="{FF2B5EF4-FFF2-40B4-BE49-F238E27FC236}">
                <a16:creationId xmlns:a16="http://schemas.microsoft.com/office/drawing/2014/main" id="{ED5B68CC-333C-84C2-6155-84CA92088696}"/>
              </a:ext>
            </a:extLst>
          </p:cNvPr>
          <p:cNvSpPr txBox="1"/>
          <p:nvPr/>
        </p:nvSpPr>
        <p:spPr>
          <a:xfrm>
            <a:off x="10222142" y="4266273"/>
            <a:ext cx="410633" cy="246221"/>
          </a:xfrm>
          <a:prstGeom prst="rect">
            <a:avLst/>
          </a:prstGeom>
          <a:noFill/>
        </p:spPr>
        <p:txBody>
          <a:bodyPr wrap="square" lIns="0" tIns="0" rIns="0" bIns="0" rtlCol="0" anchor="t">
            <a:spAutoFit/>
          </a:bodyPr>
          <a:ls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a:lstStyle>
          <a:p>
            <a:pPr>
              <a:defRPr/>
            </a:pPr>
            <a:r>
              <a:rPr lang="en-DE" sz="1600" b="1" kern="0">
                <a:solidFill>
                  <a:schemeClr val="tx2"/>
                </a:solidFill>
              </a:rPr>
              <a:t>6</a:t>
            </a:r>
          </a:p>
        </p:txBody>
      </p:sp>
    </p:spTree>
    <p:custDataLst>
      <p:tags r:id="rId1"/>
    </p:custDataLst>
    <p:extLst>
      <p:ext uri="{BB962C8B-B14F-4D97-AF65-F5344CB8AC3E}">
        <p14:creationId xmlns:p14="http://schemas.microsoft.com/office/powerpoint/2010/main" val="163702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43D6882-684F-4066-7F7C-198D682D04FC}"/>
              </a:ext>
            </a:extLst>
          </p:cNvPr>
          <p:cNvSpPr>
            <a:spLocks noGrp="1"/>
          </p:cNvSpPr>
          <p:nvPr>
            <p:ph type="ftr" sz="quarter" idx="10"/>
          </p:nvPr>
        </p:nvSpPr>
        <p:spPr/>
        <p:txBody>
          <a:bodyPr/>
          <a:lstStyle/>
          <a:p>
            <a:r>
              <a:rPr lang="en-US"/>
              <a:t>© SAG ARIS GmbH. All rights reserved.</a:t>
            </a:r>
          </a:p>
        </p:txBody>
      </p:sp>
      <p:sp>
        <p:nvSpPr>
          <p:cNvPr id="3" name="Slide Number Placeholder 2">
            <a:extLst>
              <a:ext uri="{FF2B5EF4-FFF2-40B4-BE49-F238E27FC236}">
                <a16:creationId xmlns:a16="http://schemas.microsoft.com/office/drawing/2014/main" id="{9E5DFB32-3A86-CBA1-846E-E035B477F2AB}"/>
              </a:ext>
            </a:extLst>
          </p:cNvPr>
          <p:cNvSpPr>
            <a:spLocks noGrp="1"/>
          </p:cNvSpPr>
          <p:nvPr>
            <p:ph type="sldNum" sz="quarter" idx="11"/>
          </p:nvPr>
        </p:nvSpPr>
        <p:spPr/>
        <p:txBody>
          <a:bodyPr/>
          <a:lstStyle/>
          <a:p>
            <a:fld id="{59C7FD53-A61A-46D7-B725-1FF4E056D6EF}" type="slidenum">
              <a:rPr lang="en-US" smtClean="0"/>
              <a:pPr/>
              <a:t>9</a:t>
            </a:fld>
            <a:endParaRPr lang="en-US"/>
          </a:p>
        </p:txBody>
      </p:sp>
      <p:pic>
        <p:nvPicPr>
          <p:cNvPr id="4" name="ARIS Simulation - Sales Order Handling 1 (1)">
            <a:hlinkClick r:id="" action="ppaction://media"/>
            <a:extLst>
              <a:ext uri="{FF2B5EF4-FFF2-40B4-BE49-F238E27FC236}">
                <a16:creationId xmlns:a16="http://schemas.microsoft.com/office/drawing/2014/main" id="{EC4D9758-AC2E-1661-B894-411EE27C310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0759" y="0"/>
            <a:ext cx="12192000" cy="6858000"/>
          </a:xfrm>
          <a:prstGeom prst="rect">
            <a:avLst/>
          </a:prstGeom>
        </p:spPr>
      </p:pic>
    </p:spTree>
    <p:extLst>
      <p:ext uri="{BB962C8B-B14F-4D97-AF65-F5344CB8AC3E}">
        <p14:creationId xmlns:p14="http://schemas.microsoft.com/office/powerpoint/2010/main" val="2929758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589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QA////////////////////////////////////////////////////////////////////////////////////////////////////////////////////////////////////////////////////////////////////////////////////////////////////////////////////////////////////////////////////////////////////////////////////////////////////////////////////////////////////////////////////////////////////////////////////////////////////////////////////////////////////////////////////////////////////////////////////////////////////////////////////////AgABAP///////wUAAAACABAAC6IGOxq3bltAvvr6WJ7KugoEAAAAAAADAAAAAAADAAAAAwADAAEA////////BQAAAAMAEAALrld1MLGPsUu0Hig24nl14QQAAAABAAMAAAACAAMAAAAEAAQAAgD///////8FAAAABAAQAAvY6RWMz89TRIr+XvljyGj1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ogY7GrduW0C++vpYnsq6CgNEYXRhABsAAAAETGlua2VkU2hhcGVEYXRhAAUAAAAAAAJOYW1lABkAAABMaW5rZWRTaGFwZXNEYXRhUHJvcGVydHkAEFZlcnNpb24AAAAAAAlMYXN0V3JpdGUAlcKKgYUBAAAAAQD/////gwCDAAAABV9pZAAQAAAABK5XdTCxj7FLtB4oNuJ5deEDRGF0YQAbAAAABExpbmtlZFNoYXBlRGF0YQAFAAAAAAACTmFtZQAZAAAATGlua2VkU2hhcGVzRGF0YVByb3BlcnR5ABBWZXJzaW9uAAEAAAAJTGFzdFdyaXRlAG+k4SmIAQAAAAIA/////8YAxgAAAAVfaWQAEAAAAATY6RWMz89TRIr+XvljyGj1A0RhdGEAUwAAAAhQcmVzZW50YXRpb25TY2FubmVkRm9yTGlua2VkU2hhcGVzAAECTnVtYmVyRm9ybWF0U2VwYXJhdG9yTW9kZQAKAAAAQXV0b21hdGljAAACTmFtZQAkAAAATGlua2VkU2hhcGVQcmVzZW50YXRpb25TZXR0aW5nc0RhdGEAEFZlcnNpb24AAAAAAAlMYXN0V3JpdGUA18KKgY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lCwAAAAAAAAAAAAAgAf///////////////wAAAP///////////////wUAAAAEAP///////wUAAAAEAP///////wUAAAAEAP///////wUAAAAEAP///////////////////////////////////////////////////////////////////////////////////////////////////////////////////////////////////////////////////////////////////////////////////////////////////////////////////////////////////////////////////////////////////////////////////////////////////////////////////////////////////////////////////////////////////////////////////////////////////////////////////////////////////////////////////////////////wEAIAH///////////////8AAA7///////8FAAAAAwD///////////////////////////////////////////////////////////////////////////////////////////////////////////////////////////////////////////////////////////////////////////////////////////////////////////////////////////////////////////////////////////////////////////////////////////////////////////////////////////////////////////////////////////////////////////////////////////////////////////////////////////////////////////////////////////////////////////////////////////////////////////////////////8CAAIBAwAAAAIA////////GgAGTGlua2VkU2hhcGVzRGF0YVByb3BlcnR5XzAEAAAAAAAFAAAABAAFAAAAAwAFAAAABAAFAAAAAwADAAMBAwAAAAMA////////GgAGTGlua2VkU2hhcGVzRGF0YVByb3BlcnR5XzEEAAAAAQAFAAAAAgAFAAAAAQAFAAAAAgD///////8FAAAABAD///////8EAAQBAwAAAAQA////////JQAGTGlua2VkU2hhcGVQcmVzZW50YXRpb25TZXR0aW5nc0RhdGFfMAQAAAACAAUAAAAAAAUAAAACAAUAAAAAAAUAAAACAAUAAAAAAAUAAAADAA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199266339492035"/>
  <p:tag name="EMPOWERCHARTSPROPERTIES_A_LENGTH" val="24576"/>
  <p:tag name="MIO_PRESENTATION_LANGUAGE" val="1033"/>
  <p:tag name="MENTIMETER_SERIES_ID_KEY" val="alz2dspcp6b33t7z7pz8kvye6o1p4hi7"/>
</p:tagLst>
</file>

<file path=ppt/tags/tag10.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and Content -Light-MIOPlaceholderMapping.10MIOPlaceholderMapping.Title 1MIOPlaceholderMapping.0MIOPlaceholderMapping-Solace CoversMIOPlaceholderMapping.Title and Content - WhiteMIOPlaceholderMapping.3MIOPlaceholderMapping.Title 1MIOPlaceholderMapping.0MIOPlaceholderMapping;Software AG_CombinedMIOPlaceholderMapping.Title and Content -Light-MIOPlaceholderMapping.10MIOPlaceholderMapping.MIO_CONVERT_SLIDES_SUBTITLEMIOPlaceholderMapping.1MIOPlaceholderMapping-Solace CoversMIOPlaceholderMapping.Title and Content - WhiteMIOPlaceholderMapping.3MIOPlaceholderMapping.Subtitle 1MIOPlaceholderMapping.1MIOPlaceholderMapping;Software AG_CombinedMIOPlaceholderMapping.Title and Content -Light-MIOPlaceholderMapping.10MIOPlaceholderMapping.Content Placeholder 21MIOPlaceholderMapping.21MIOPlaceholderMapping-Solace CoversMIOPlaceholderMapping.Title and Content - WhiteMIOPlaceholderMapping.3MIOPlaceholderMapping.Content Placeholder 5MIOPlaceholderMapping.12MIOPlaceholderMapping;Software AG_CombinedMIOPlaceholderMapping.Title and Content -Light-MIOPlaceholderMapping.10MIOPlaceholderMapping.Content Placeholder 14MIOPlaceholderMapping.26MIOPlaceholderMapping-Solace CoversMIOPlaceholderMapping.Title and Content - WhiteMIOPlaceholderMapping.3MIOPlaceholderMapping.Content Placeholder 9MIOPlaceholderMapping.15"/>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12.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Blank -Light-MIOPlaceholderMapping.18MIOPlaceholderMapping-Solace CoversMIOPlaceholderMapping.Blank - WhiteMIOPlaceholderMapping.5"/>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14.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Comparison -Light-MIOPlaceholderMapping.12MIOPlaceholderMapping.TitleMIOPlaceholderMapping.0MIOPlaceholderMapping-Solace CoversMIOPlaceholderMapping.Comparison - WhiteMIOPlaceholderMapping.6MIOPlaceholderMapping.Title 1MIOPlaceholderMapping.0MIOPlaceholderMapping;Software AG_CombinedMIOPlaceholderMapping.Comparison -Light-MIOPlaceholderMapping.12MIOPlaceholderMapping.MIO_CONVERT_SLIDES_SUBTITLEMIOPlaceholderMapping.1MIOPlaceholderMapping-Solace CoversMIOPlaceholderMapping.Comparison - WhiteMIOPlaceholderMapping.6MIOPlaceholderMapping.Subtitle 1MIOPlaceholderMapping.1MIOPlaceholderMapping;Software AG_CombinedMIOPlaceholderMapping.Comparison -Light-MIOPlaceholderMapping.12MIOPlaceholderMapping.Text Placeholder 11MIOPlaceholderMapping.11MIOPlaceholderMapping-Solace CoversMIOPlaceholderMapping.Comparison - WhiteMIOPlaceholderMapping.6MIOPlaceholderMapping.Text Placeholder 5MIOPlaceholderMapping.12MIOPlaceholderMapping;Software AG_CombinedMIOPlaceholderMapping.Comparison -Light-MIOPlaceholderMapping.12MIOPlaceholderMapping.Text Placeholder 12MIOPlaceholderMapping.12MIOPlaceholderMapping-Solace CoversMIOPlaceholderMapping.Comparison - WhiteMIOPlaceholderMapping.6MIOPlaceholderMapping.Text Placeholder 5MIOPlaceholderMapping.13MIOPlaceholderMapping;Software AG_CombinedMIOPlaceholderMapping.Comparison -Light-MIOPlaceholderMapping.12MIOPlaceholderMapping.Content Placeholder 21MIOPlaceholderMapping.21MIOPlaceholderMapping-Solace CoversMIOPlaceholderMapping.Comparison - WhiteMIOPlaceholderMapping.6MIOPlaceholderMapping.Content Placeholder 10MIOPlaceholderMapping.14MIOPlaceholderMapping;Software AG_CombinedMIOPlaceholderMapping.Comparison -Light-MIOPlaceholderMapping.12MIOPlaceholderMapping.Content Placeholder 22MIOPlaceholderMapping.22MIOPlaceholderMapping-Solace CoversMIOPlaceholderMapping.Comparison - WhiteMIOPlaceholderMapping.6MIOPlaceholderMapping.Content Placeholder 10MIOPlaceholderMapping.15"/>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16.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Pic over 3 Contents -Light-MIOPlaceholderMapping.13MIOPlaceholderMapping.Picture Placeholder 31MIOPlaceholderMapping.31MIOPlaceholderMapping-Solace CoversMIOPlaceholderMapping.1 Pict 3 Contents - WhiteMIOPlaceholderMapping.7MIOPlaceholderMapping.Picture Placeholder 5MIOPlaceholderMapping.12MIOPlaceholderMapping;Software AG_CombinedMIOPlaceholderMapping.Pic over 3 Contents -Light-MIOPlaceholderMapping.13MIOPlaceholderMapping.TitleMIOPlaceholderMapping.0MIOPlaceholderMapping-Solace CoversMIOPlaceholderMapping.1 Pict 3 Contents - WhiteMIOPlaceholderMapping.7MIOPlaceholderMapping.Title 1MIOPlaceholderMapping.0MIOPlaceholderMapping;Software AG_CombinedMIOPlaceholderMapping.Pic over 3 Contents -Light-MIOPlaceholderMapping.13MIOPlaceholderMapping.Text Placeholder 11MIOPlaceholderMapping.11MIOPlaceholderMapping-Solace CoversMIOPlaceholderMapping.1 Pict 3 Contents - WhiteMIOPlaceholderMapping.7MIOPlaceholderMapping.Text Placeholder 7MIOPlaceholderMapping.13MIOPlaceholderMapping;Software AG_CombinedMIOPlaceholderMapping.Pic over 3 Contents -Light-MIOPlaceholderMapping.13MIOPlaceholderMapping.Text Placeholder 12MIOPlaceholderMapping.12MIOPlaceholderMapping-Solace CoversMIOPlaceholderMapping.1 Pict 3 Contents - WhiteMIOPlaceholderMapping.7MIOPlaceholderMapping.Text Placeholder 7MIOPlaceholderMapping.14MIOPlaceholderMapping;Software AG_CombinedMIOPlaceholderMapping.Pic over 3 Contents -Light-MIOPlaceholderMapping.13MIOPlaceholderMapping.Text Placeholder 13MIOPlaceholderMapping.13MIOPlaceholderMapping-Solace CoversMIOPlaceholderMapping.1 Pict 3 Contents - WhiteMIOPlaceholderMapping.7MIOPlaceholderMapping.Text Placeholder 7MIOPlaceholderMapping.15MIOPlaceholderMapping;Software AG_CombinedMIOPlaceholderMapping.Pic over 3 Contents -Light-MIOPlaceholderMapping.13MIOPlaceholderMapping.Content Placeholder 21MIOPlaceholderMapping.21MIOPlaceholderMapping-Solace CoversMIOPlaceholderMapping.1 Pict 3 Contents - WhiteMIOPlaceholderMapping.7MIOPlaceholderMapping.Content Placeholder 11MIOPlaceholderMapping.16MIOPlaceholderMapping;Software AG_CombinedMIOPlaceholderMapping.Pic over 3 Contents -Light-MIOPlaceholderMapping.13MIOPlaceholderMapping.Content Placeholder 22MIOPlaceholderMapping.22MIOPlaceholderMapping-Solace CoversMIOPlaceholderMapping.1 Pict 3 Contents - WhiteMIOPlaceholderMapping.7MIOPlaceholderMapping.Content Placeholder 11MIOPlaceholderMapping.17MIOPlaceholderMapping;Software AG_CombinedMIOPlaceholderMapping.Pic over 3 Contents -Light-MIOPlaceholderMapping.13MIOPlaceholderMapping.Content Placeholder 23MIOPlaceholderMapping.23MIOPlaceholderMapping-Solace CoversMIOPlaceholderMapping.1 Pict 3 Contents - WhiteMIOPlaceholderMapping.7MIOPlaceholderMapping.Content Placeholder 11MIOPlaceholderMapping.18"/>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4"/>
  <p:tag name="MIO_SHOW_DATE" val="False"/>
  <p:tag name="MIO_SHOW_FOOTER" val="True"/>
  <p:tag name="MIO_SHOW_PAGENUMBER" val="True"/>
  <p:tag name="MIO_AVOID_BLANK_LAYOUT" val="True"/>
  <p:tag name="MIO_CD_LAYOUT_VALID_AREA" val="False"/>
  <p:tag name="MIO_MATCH_COLOR_SCHEME" val="False"/>
  <p:tag name="MIO_NUMBER_OF_VALID_LAYOUTS" val="29"/>
  <p:tag name="MIO_DBID" val="0F45B44C-9BC7-4D85-81C4-7155EE70A7B9"/>
  <p:tag name="MIO_EMBED_FONT" val="True"/>
  <p:tag name="MIO_EKGUID" val="98240bfc-578f-4329-8086-c63b62eda80d"/>
  <p:tag name="MIO_VERSION" val="08.01.2026 16:05:46"/>
  <p:tag name="MIO_OBJECTNAME" val="ARIS MASTER Template 2026"/>
  <p:tag name="MIO_LASTDOWNLOADED" val="10.01.2026 10:59:07.173"/>
  <p:tag name="MIO_CONTENTTAG" val="5N/me1cs+Umk92w92tLWVQ=="/>
  <p:tag name="MIO_CDID" val="509ea439-88ce-4ba5-8dea-93eecf94b93d"/>
</p:tagLst>
</file>

<file path=ppt/tags/tag20.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and 4 Contents -Light-MIOPlaceholderMapping.14MIOPlaceholderMapping.Title 1MIOPlaceholderMapping.0MIOPlaceholderMapping-Solace CoversMIOPlaceholderMapping.Title and 4 Contents - WhiteMIOPlaceholderMapping.10MIOPlaceholderMapping.Title 1MIOPlaceholderMapping.0MIOPlaceholderMapping;Software AG_CombinedMIOPlaceholderMapping.Title and 4 Contents -Light-MIOPlaceholderMapping.14MIOPlaceholderMapping.MIO_CONVERT_SLIDES_SUBTITLEMIOPlaceholderMapping.1MIOPlaceholderMapping-Solace CoversMIOPlaceholderMapping.Title and 4 Contents - WhiteMIOPlaceholderMapping.10MIOPlaceholderMapping.Subtitle 1MIOPlaceholderMapping.1MIOPlaceholderMapping;Software AG_CombinedMIOPlaceholderMapping.Title and 4 Contents -Light-MIOPlaceholderMapping.14MIOPlaceholderMapping.Content Placeholder 21MIOPlaceholderMapping.21MIOPlaceholderMapping-Solace CoversMIOPlaceholderMapping.Title and 4 Contents - WhiteMIOPlaceholderMapping.10MIOPlaceholderMapping.Content Placeholder 5MIOPlaceholderMapping.12MIOPlaceholderMapping;Software AG_CombinedMIOPlaceholderMapping.Title and 4 Contents -Light-MIOPlaceholderMapping.14MIOPlaceholderMapping.Content Placeholder 22MIOPlaceholderMapping.22MIOPlaceholderMapping-Solace CoversMIOPlaceholderMapping.Title and 4 Contents - WhiteMIOPlaceholderMapping.10MIOPlaceholderMapping.Content Placeholder 7MIOPlaceholderMapping.13MIOPlaceholderMapping;Software AG_CombinedMIOPlaceholderMapping.Title and 4 Contents -Light-MIOPlaceholderMapping.14MIOPlaceholderMapping.Content Placeholder 23MIOPlaceholderMapping.23MIOPlaceholderMapping-Solace CoversMIOPlaceholderMapping.Title and 4 Contents - WhiteMIOPlaceholderMapping.10MIOPlaceholderMapping.Content Placeholder 9MIOPlaceholderMapping.14MIOPlaceholderMapping;Software AG_CombinedMIOPlaceholderMapping.Title and 4 Contents -Light-MIOPlaceholderMapping.14MIOPlaceholderMapping.Content Placeholder 24MIOPlaceholderMapping.24MIOPlaceholderMapping-Solace CoversMIOPlaceholderMapping.Title and 4 Contents - WhiteMIOPlaceholderMapping.10MIOPlaceholderMapping.Content Placeholder 9MIOPlaceholderMapping.17"/>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2.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2 Contents over Text -Light-MIOPlaceholderMapping.15MIOPlaceholderMapping.TitleMIOPlaceholderMapping.0MIOPlaceholderMapping-Solace CoversMIOPlaceholderMapping.2 picts 2 Contents - WhiteMIOPlaceholderMapping.11MIOPlaceholderMapping.Title 1MIOPlaceholderMapping.0MIOPlaceholderMapping;Software AG_CombinedMIOPlaceholderMapping.2 Contents over Text -Light-MIOPlaceholderMapping.15MIOPlaceholderMapping.MIO_CONVERT_SLIDES_SUBTITLEMIOPlaceholderMapping.1MIOPlaceholderMapping-Solace CoversMIOPlaceholderMapping.2 picts 2 Contents - WhiteMIOPlaceholderMapping.11MIOPlaceholderMapping.Subtitle 1MIOPlaceholderMapping.1MIOPlaceholderMapping;Software AG_CombinedMIOPlaceholderMapping.2 Contents over Text -Light-MIOPlaceholderMapping.15MIOPlaceholderMapping.Content Placeholder 21MIOPlaceholderMapping.21MIOPlaceholderMapping-Solace CoversMIOPlaceholderMapping.2 picts 2 Contents - WhiteMIOPlaceholderMapping.11MIOPlaceholderMapping.Content Placeholder 8MIOPlaceholderMapping.12MIOPlaceholderMapping;Software AG_CombinedMIOPlaceholderMapping.2 Contents over Text -Light-MIOPlaceholderMapping.15MIOPlaceholderMapping.Content Placeholder 22MIOPlaceholderMapping.22MIOPlaceholderMapping-Solace CoversMIOPlaceholderMapping.2 picts 2 Contents - WhiteMIOPlaceholderMapping.11MIOPlaceholderMapping.Content Placeholder 8MIOPlaceholderMapping.13MIOPlaceholderMapping;Software AG_CombinedMIOPlaceholderMapping.2 Contents over Text -Light-MIOPlaceholderMapping.15MIOPlaceholderMapping.Text Placeholder 11MIOPlaceholderMapping.11MIOPlaceholderMapping-Solace CoversMIOPlaceholderMapping.2 picts 2 Contents - WhiteMIOPlaceholderMapping.11MIOPlaceholderMapping.Content Placeholder 12MIOPlaceholderMapping.14MIOPlaceholderMapping;Software AG_CombinedMIOPlaceholderMapping.2 Contents over Text -Light-MIOPlaceholderMapping.15MIOPlaceholderMapping.Text Placeholder 12MIOPlaceholderMapping.12MIOPlaceholderMapping-Solace CoversMIOPlaceholderMapping.2 picts 2 Contents - WhiteMIOPlaceholderMapping.11MIOPlaceholderMapping.Content Placeholder 12MIOPlaceholderMapping.15"/>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4.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3 Contents over Text -Light-MIOPlaceholderMapping.16MIOPlaceholderMapping.TitleMIOPlaceholderMapping.0MIOPlaceholderMapping-Solace CoversMIOPlaceholderMapping.3 picts 3 Contents - WhiteMIOPlaceholderMapping.12MIOPlaceholderMapping.Title 1MIOPlaceholderMapping.0MIOPlaceholderMapping;Software AG_CombinedMIOPlaceholderMapping.3 Contents over Text -Light-MIOPlaceholderMapping.16MIOPlaceholderMapping.MIO_CONVERT_SLIDES_SUBTITLEMIOPlaceholderMapping.1MIOPlaceholderMapping-Solace CoversMIOPlaceholderMapping.3 picts 3 Contents - WhiteMIOPlaceholderMapping.12MIOPlaceholderMapping.Subtitle 1MIOPlaceholderMapping.1MIOPlaceholderMapping;Software AG_CombinedMIOPlaceholderMapping.3 Contents over Text -Light-MIOPlaceholderMapping.16MIOPlaceholderMapping.Content Placeholder 21MIOPlaceholderMapping.21MIOPlaceholderMapping-Solace CoversMIOPlaceholderMapping.3 picts 3 Contents - WhiteMIOPlaceholderMapping.12MIOPlaceholderMapping.Content Placeholder 8MIOPlaceholderMapping.12MIOPlaceholderMapping;Software AG_CombinedMIOPlaceholderMapping.3 Contents over Text -Light-MIOPlaceholderMapping.16MIOPlaceholderMapping.Content Placeholder 21MIOPlaceholderMapping.27MIOPlaceholderMapping-Solace CoversMIOPlaceholderMapping.3 picts 3 Contents - WhiteMIOPlaceholderMapping.12MIOPlaceholderMapping.Content Placeholder 8MIOPlaceholderMapping.13MIOPlaceholderMapping;Software AG_CombinedMIOPlaceholderMapping.3 Contents over Text -Light-MIOPlaceholderMapping.16MIOPlaceholderMapping.Content Placeholder 21MIOPlaceholderMapping.28MIOPlaceholderMapping-Solace CoversMIOPlaceholderMapping.3 picts 3 Contents - WhiteMIOPlaceholderMapping.12MIOPlaceholderMapping.Content Placeholder 8MIOPlaceholderMapping.16MIOPlaceholderMapping;Software AG_CombinedMIOPlaceholderMapping.3 Contents over Text -Light-MIOPlaceholderMapping.16MIOPlaceholderMapping.Text Placeholder 11MIOPlaceholderMapping.11MIOPlaceholderMapping-Solace CoversMIOPlaceholderMapping.3 picts 3 Contents - WhiteMIOPlaceholderMapping.12MIOPlaceholderMapping.Content Placeholder 12MIOPlaceholderMapping.14MIOPlaceholderMapping;Software AG_CombinedMIOPlaceholderMapping.3 Contents over Text -Light-MIOPlaceholderMapping.16MIOPlaceholderMapping.Text Placeholder 12MIOPlaceholderMapping.12MIOPlaceholderMapping-Solace CoversMIOPlaceholderMapping.3 picts 3 Contents - WhiteMIOPlaceholderMapping.12MIOPlaceholderMapping.Content Placeholder 12MIOPlaceholderMapping.15MIOPlaceholderMapping;Software AG_CombinedMIOPlaceholderMapping.3 Contents over Text -Light-MIOPlaceholderMapping.16MIOPlaceholderMapping.Text Placeholder 13MIOPlaceholderMapping.13MIOPlaceholderMapping-Solace CoversMIOPlaceholderMapping.3 picts 3 Contents - WhiteMIOPlaceholderMapping.12MIOPlaceholderMapping.Content Placeholder 12MIOPlaceholderMapping.17"/>
</p:tagLst>
</file>

<file path=ppt/tags/tag25.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6.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4 Contents over Text -Light-MIOPlaceholderMapping.17MIOPlaceholderMapping.TitleMIOPlaceholderMapping.0MIOPlaceholderMapping-Solace CoversMIOPlaceholderMapping.4 picts 4 Contents - WhiteMIOPlaceholderMapping.13MIOPlaceholderMapping.Title 1MIOPlaceholderMapping.0MIOPlaceholderMapping;Software AG_CombinedMIOPlaceholderMapping.4 Contents over Text -Light-MIOPlaceholderMapping.17MIOPlaceholderMapping.MIO_CONVERT_SLIDES_SUBTITLEMIOPlaceholderMapping.1MIOPlaceholderMapping-Solace CoversMIOPlaceholderMapping.4 picts 4 Contents - WhiteMIOPlaceholderMapping.13MIOPlaceholderMapping.Subtitle 1MIOPlaceholderMapping.1MIOPlaceholderMapping;Software AG_CombinedMIOPlaceholderMapping.4 Contents over Text -Light-MIOPlaceholderMapping.17MIOPlaceholderMapping.Content Placeholder 21MIOPlaceholderMapping.21MIOPlaceholderMapping-Solace CoversMIOPlaceholderMapping.4 picts 4 Contents - WhiteMIOPlaceholderMapping.13MIOPlaceholderMapping.Content Placeholder 8MIOPlaceholderMapping.12MIOPlaceholderMapping;Software AG_CombinedMIOPlaceholderMapping.4 Contents over Text -Light-MIOPlaceholderMapping.17MIOPlaceholderMapping.Content Placeholder 22MIOPlaceholderMapping.22MIOPlaceholderMapping-Solace CoversMIOPlaceholderMapping.4 picts 4 Contents - WhiteMIOPlaceholderMapping.13MIOPlaceholderMapping.Content Placeholder 8MIOPlaceholderMapping.15MIOPlaceholderMapping;Software AG_CombinedMIOPlaceholderMapping.4 Contents over Text -Light-MIOPlaceholderMapping.17MIOPlaceholderMapping.Content Placeholder 23MIOPlaceholderMapping.23MIOPlaceholderMapping-Solace CoversMIOPlaceholderMapping.4 picts 4 Contents - WhiteMIOPlaceholderMapping.13MIOPlaceholderMapping.Content Placeholder 8MIOPlaceholderMapping.17MIOPlaceholderMapping;Software AG_CombinedMIOPlaceholderMapping.4 Contents over Text -Light-MIOPlaceholderMapping.17MIOPlaceholderMapping.Content Placeholder 23MIOPlaceholderMapping.28MIOPlaceholderMapping-Solace CoversMIOPlaceholderMapping.4 picts 4 Contents - WhiteMIOPlaceholderMapping.13MIOPlaceholderMapping.Content Placeholder 8MIOPlaceholderMapping.19MIOPlaceholderMapping;Software AG_CombinedMIOPlaceholderMapping.4 Contents over Text -Light-MIOPlaceholderMapping.17MIOPlaceholderMapping.Text Placeholder 11MIOPlaceholderMapping.11MIOPlaceholderMapping-Solace CoversMIOPlaceholderMapping.4 picts 4 Contents - WhiteMIOPlaceholderMapping.13MIOPlaceholderMapping.Content Placeholder 12MIOPlaceholderMapping.14MIOPlaceholderMapping;Software AG_CombinedMIOPlaceholderMapping.4 Contents over Text -Light-MIOPlaceholderMapping.17MIOPlaceholderMapping.Text Placeholder 12MIOPlaceholderMapping.12MIOPlaceholderMapping-Solace CoversMIOPlaceholderMapping.4 picts 4 Contents - WhiteMIOPlaceholderMapping.13MIOPlaceholderMapping.Content Placeholder 12MIOPlaceholderMapping.16MIOPlaceholderMapping;Software AG_CombinedMIOPlaceholderMapping.4 Contents over Text -Light-MIOPlaceholderMapping.17MIOPlaceholderMapping.Text Placeholder 13MIOPlaceholderMapping.13MIOPlaceholderMapping-Solace CoversMIOPlaceholderMapping.4 picts 4 Contents - WhiteMIOPlaceholderMapping.13MIOPlaceholderMapping.Content Placeholder 12MIOPlaceholderMapping.18MIOPlaceholderMapping;Software AG_CombinedMIOPlaceholderMapping.4 Contents over Text -Light-MIOPlaceholderMapping.17MIOPlaceholderMapping.Text Placeholder 14MIOPlaceholderMapping.14MIOPlaceholderMapping-Solace CoversMIOPlaceholderMapping.4 picts 4 Contents - WhiteMIOPlaceholderMapping.13MIOPlaceholderMapping.Content Placeholder 12MIOPlaceholderMapping.20"/>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8.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Full Pic -Dark-MIOPlaceholderMapping.34MIOPlaceholderMapping.Picture Placeholder 2MIOPlaceholderMapping.17MIOPlaceholderMapping-Solace CoversMIOPlaceholderMapping.Full Pict - WhiteMIOPlaceholderMapping.14MIOPlaceholderMapping.Picture Placeholder 31MIOPlaceholderMapping.31"/>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1.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Divider C -Light-MIOPlaceholderMapping.21MIOPlaceholderMapping.Title 1MIOPlaceholderMapping.0MIOPlaceholderMapping-Solace CoversMIOPlaceholderMapping.Divider - IvoryMIOPlaceholderMapping.16MIOPlaceholderMapping.Title 1MIOPlaceholderMapping.0"/>
</p:tagLst>
</file>

<file path=ppt/tags/tag3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3.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and Content -Dark-MIOPlaceholderMapping.26MIOPlaceholderMapping-Solace CoversMIOPlaceholderMapping.Title and Content - GreenMIOPlaceholderMapping.17"/>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5.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Only -Dark-MIOPlaceholderMapping.27MIOPlaceholderMapping.Title 1MIOPlaceholderMapping.0MIOPlaceholderMapping-Solace CoversMIOPlaceholderMapping.Title Only - GreenMIOPlaceholderMapping.18MIOPlaceholderMapping.Title 1MIOPlaceholderMapping.0MIOPlaceholderMapping;Software AG_CombinedMIOPlaceholderMapping.Title Only -Dark-MIOPlaceholderMapping.27MIOPlaceholderMapping.Subtitle 1MIOPlaceholderMapping.1MIOPlaceholderMapping-Solace CoversMIOPlaceholderMapping.Title Only - GreenMIOPlaceholderMapping.18MIOPlaceholderMapping.Subtitle 1MIOPlaceholderMapping.1"/>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7.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Blank -Dark-MIOPlaceholderMapping.35MIOPlaceholderMapping-Solace CoversMIOPlaceholderMapping.Blank - GreenMIOPlaceholderMapping.19"/>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39.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Comparison -Dark-MIOPlaceholderMapping.28MIOPlaceholderMapping.TitleMIOPlaceholderMapping.0MIOPlaceholderMapping-Solace CoversMIOPlaceholderMapping.Comparison - GreenMIOPlaceholderMapping.20MIOPlaceholderMapping.Title 1MIOPlaceholderMapping.0MIOPlaceholderMapping;Software AG_CombinedMIOPlaceholderMapping.Comparison -Dark-MIOPlaceholderMapping.28MIOPlaceholderMapping.Subtitle 1MIOPlaceholderMapping.1MIOPlaceholderMapping-Solace CoversMIOPlaceholderMapping.Comparison - GreenMIOPlaceholderMapping.20MIOPlaceholderMapping.Subtitle 1MIOPlaceholderMapping.1MIOPlaceholderMapping;Software AG_CombinedMIOPlaceholderMapping.Comparison -Dark-MIOPlaceholderMapping.28MIOPlaceholderMapping.Text Placeholder 11MIOPlaceholderMapping.11MIOPlaceholderMapping-Solace CoversMIOPlaceholderMapping.Comparison - GreenMIOPlaceholderMapping.20MIOPlaceholderMapping.Text Placeholder 5MIOPlaceholderMapping.12MIOPlaceholderMapping;Software AG_CombinedMIOPlaceholderMapping.Comparison -Dark-MIOPlaceholderMapping.28MIOPlaceholderMapping.Text Placeholder 12MIOPlaceholderMapping.12MIOPlaceholderMapping-Solace CoversMIOPlaceholderMapping.Comparison - GreenMIOPlaceholderMapping.20MIOPlaceholderMapping.Text Placeholder 5MIOPlaceholderMapping.13MIOPlaceholderMapping;Software AG_CombinedMIOPlaceholderMapping.Comparison -Dark-MIOPlaceholderMapping.28MIOPlaceholderMapping.Content Placeholder 21MIOPlaceholderMapping.21MIOPlaceholderMapping-Solace CoversMIOPlaceholderMapping.Comparison - GreenMIOPlaceholderMapping.20MIOPlaceholderMapping.Content Placeholder 10MIOPlaceholderMapping.14MIOPlaceholderMapping;Software AG_CombinedMIOPlaceholderMapping.Comparison -Dark-MIOPlaceholderMapping.28MIOPlaceholderMapping.Content Placeholder 22MIOPlaceholderMapping.22MIOPlaceholderMapping-Solace CoversMIOPlaceholderMapping.Comparison - GreenMIOPlaceholderMapping.20MIOPlaceholderMapping.Content Placeholder 10MIOPlaceholderMapping.15"/>
</p:tagLst>
</file>

<file path=ppt/tags/tag4.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Slide -Light-MIOPlaceholderMapping.1MIOPlaceholderMapping.TitleMIOPlaceholderMapping.0MIOPlaceholderMapping-Solace CoversMIOPlaceholderMapping.Cover 1 - GreenMIOPlaceholderMapping.1MIOPlaceholderMapping.Title 1MIOPlaceholderMapping.0MIOPlaceholderMapping;Software AG_CombinedMIOPlaceholderMapping.Title Slide -Light-MIOPlaceholderMapping.1MIOPlaceholderMapping.MIO_CONVERT_SLIDES_SUBTITLEMIOPlaceholderMapping.1MIOPlaceholderMapping-Solace CoversMIOPlaceholderMapping.Cover 1 - GreenMIOPlaceholderMapping.1MIOPlaceholderMapping.Subtitle 2MIOPlaceholderMapping.1MIOPlaceholderMapping;Software AG_CombinedMIOPlaceholderMapping.Title Slide -Light-MIOPlaceholderMapping.1MIOPlaceholderMapping.Text Placeholder 11MIOPlaceholderMapping.11MIOPlaceholderMapping-Solace CoversMIOPlaceholderMapping.Cover 1 - GreenMIOPlaceholderMapping.1MIOPlaceholderMapping.Text Placeholder 9MIOPlaceholderMapping.10MIOPlaceholderMapping;Software AG_CombinedMIOPlaceholderMapping.Title Slide -Dark-MIOPlaceholderMapping.2MIOPlaceholderMapping.TitleMIOPlaceholderMapping.0MIOPlaceholderMapping-Solace CoversMIOPlaceholderMapping.Cover 1 - GreenMIOPlaceholderMapping.1MIOPlaceholderMapping.Title 1MIOPlaceholderMapping.0MIOPlaceholderMapping;Software AG_CombinedMIOPlaceholderMapping.Title Slide -Dark-MIOPlaceholderMapping.2MIOPlaceholderMapping.MIO_CONVERT_SLIDES_SUBTITLEMIOPlaceholderMapping.1MIOPlaceholderMapping-Solace CoversMIOPlaceholderMapping.Cover 1 - GreenMIOPlaceholderMapping.1MIOPlaceholderMapping.Subtitle 2MIOPlaceholderMapping.1MIOPlaceholderMapping;Software AG_CombinedMIOPlaceholderMapping.Title Slide -Dark-MIOPlaceholderMapping.2MIOPlaceholderMapping.Text Placeholder 11MIOPlaceholderMapping.11MIOPlaceholderMapping-Solace CoversMIOPlaceholderMapping.Cover 1 - GreenMIOPlaceholderMapping.1MIOPlaceholderMapping.Text Placeholder 9MIOPlaceholderMapping.10MIOPlaceholderMapping;Software AG_CombinedMIOPlaceholderMapping.Cover slide -Dark-MIOPlaceholderMapping.3MIOPlaceholderMapping.Titel 1MIOPlaceholderMapping.0MIOPlaceholderMapping-Solace CoversMIOPlaceholderMapping.Cover 1 - GreenMIOPlaceholderMapping.1MIOPlaceholderMapping.Title 1MIOPlaceholderMapping.0MIOPlaceholderMapping;Software AG_CombinedMIOPlaceholderMapping.Cover slide -Dark-MIOPlaceholderMapping.3MIOPlaceholderMapping.MIO_CONVERT_SLIDES_SUBTITLEMIOPlaceholderMapping.1MIOPlaceholderMapping-Solace CoversMIOPlaceholderMapping.Cover 1 - GreenMIOPlaceholderMapping.1MIOPlaceholderMapping.Subtitle 2MIOPlaceholderMapping.1MIOPlaceholderMapping;Software AG_CombinedMIOPlaceholderMapping.Cover slide -Dark-MIOPlaceholderMapping.3MIOPlaceholderMapping.Textplatzhalter 8MIOPlaceholderMapping.37MIOPlaceholderMapping-Solace CoversMIOPlaceholderMapping.Cover 1 - GreenMIOPlaceholderMapping.1MIOPlaceholderMapping.Text Placeholder 9MIOPlaceholderMapping.10"/>
</p:tagLst>
</file>

<file path=ppt/tags/tag40.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1.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Pic over 3 Contents -Dark-MIOPlaceholderMapping.29MIOPlaceholderMapping.Picture Placeholder 31MIOPlaceholderMapping.31MIOPlaceholderMapping-Solace CoversMIOPlaceholderMapping.1 Pict 3 Contents - GreenMIOPlaceholderMapping.21MIOPlaceholderMapping.Picture Placeholder 5MIOPlaceholderMapping.12MIOPlaceholderMapping;Software AG_CombinedMIOPlaceholderMapping.Pic over 3 Contents -Dark-MIOPlaceholderMapping.29MIOPlaceholderMapping.Content Placeholder 21MIOPlaceholderMapping.21MIOPlaceholderMapping-Solace CoversMIOPlaceholderMapping.1 Pict 3 Contents - GreenMIOPlaceholderMapping.21MIOPlaceholderMapping.Content Placeholder 11MIOPlaceholderMapping.16MIOPlaceholderMapping;Software AG_CombinedMIOPlaceholderMapping.Pic over 3 Contents -Dark-MIOPlaceholderMapping.29MIOPlaceholderMapping.Content Placeholder 22MIOPlaceholderMapping.22MIOPlaceholderMapping-Solace CoversMIOPlaceholderMapping.1 Pict 3 Contents - GreenMIOPlaceholderMapping.21MIOPlaceholderMapping.Content Placeholder 11MIOPlaceholderMapping.17MIOPlaceholderMapping;Software AG_CombinedMIOPlaceholderMapping.Pic over 3 Contents -Dark-MIOPlaceholderMapping.29MIOPlaceholderMapping.Content Placeholder 23MIOPlaceholderMapping.23MIOPlaceholderMapping-Solace CoversMIOPlaceholderMapping.1 Pict 3 Contents - GreenMIOPlaceholderMapping.21MIOPlaceholderMapping.Content Placeholder 11MIOPlaceholderMapping.18MIOPlaceholderMapping;Software AG_CombinedMIOPlaceholderMapping.Pic over 3 Contents -Dark-MIOPlaceholderMapping.29MIOPlaceholderMapping.Text Placeholder 11MIOPlaceholderMapping.11MIOPlaceholderMapping-Solace CoversMIOPlaceholderMapping.1 Pict 3 Contents - GreenMIOPlaceholderMapping.21MIOPlaceholderMapping.Text Placeholder 7MIOPlaceholderMapping.13MIOPlaceholderMapping;Software AG_CombinedMIOPlaceholderMapping.Pic over 3 Contents -Dark-MIOPlaceholderMapping.29MIOPlaceholderMapping.Text Placeholder 12MIOPlaceholderMapping.12MIOPlaceholderMapping-Solace CoversMIOPlaceholderMapping.1 Pict 3 Contents - GreenMIOPlaceholderMapping.21MIOPlaceholderMapping.Text Placeholder 7MIOPlaceholderMapping.14MIOPlaceholderMapping;Software AG_CombinedMIOPlaceholderMapping.Pic over 3 Contents -Dark-MIOPlaceholderMapping.29MIOPlaceholderMapping.Text Placeholder 13MIOPlaceholderMapping.13MIOPlaceholderMapping-Solace CoversMIOPlaceholderMapping.1 Pict 3 Contents - GreenMIOPlaceholderMapping.21MIOPlaceholderMapping.Text Placeholder 7MIOPlaceholderMapping.15"/>
</p:tagLst>
</file>

<file path=ppt/tags/tag4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3.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4.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5.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and 4 Contents -Dark-MIOPlaceholderMapping.30MIOPlaceholderMapping.Title 1MIOPlaceholderMapping.0MIOPlaceholderMapping-Solace CoversMIOPlaceholderMapping.Title and 4 Contents - GreenMIOPlaceholderMapping.24MIOPlaceholderMapping.Title 1MIOPlaceholderMapping.0MIOPlaceholderMapping;Software AG_CombinedMIOPlaceholderMapping.Title and 4 Contents -Dark-MIOPlaceholderMapping.30MIOPlaceholderMapping.Subtitle 1MIOPlaceholderMapping.1MIOPlaceholderMapping-Solace CoversMIOPlaceholderMapping.Title and 4 Contents - GreenMIOPlaceholderMapping.24MIOPlaceholderMapping.Subtitle 1MIOPlaceholderMapping.1MIOPlaceholderMapping;Software AG_CombinedMIOPlaceholderMapping.Title and 4 Contents -Dark-MIOPlaceholderMapping.30MIOPlaceholderMapping.Content Placeholder 21MIOPlaceholderMapping.21MIOPlaceholderMapping-Solace CoversMIOPlaceholderMapping.Title and 4 Contents - GreenMIOPlaceholderMapping.24MIOPlaceholderMapping.Content Placeholder 5MIOPlaceholderMapping.12MIOPlaceholderMapping;Software AG_CombinedMIOPlaceholderMapping.Title and 4 Contents -Dark-MIOPlaceholderMapping.30MIOPlaceholderMapping.Content Placeholder 22MIOPlaceholderMapping.22MIOPlaceholderMapping-Solace CoversMIOPlaceholderMapping.Title and 4 Contents - GreenMIOPlaceholderMapping.24MIOPlaceholderMapping.Content Placeholder 7MIOPlaceholderMapping.13MIOPlaceholderMapping;Software AG_CombinedMIOPlaceholderMapping.Title and 4 Contents -Dark-MIOPlaceholderMapping.30MIOPlaceholderMapping.Content Placeholder 23MIOPlaceholderMapping.23MIOPlaceholderMapping-Solace CoversMIOPlaceholderMapping.Title and 4 Contents - GreenMIOPlaceholderMapping.24MIOPlaceholderMapping.Content Placeholder 9MIOPlaceholderMapping.14MIOPlaceholderMapping;Software AG_CombinedMIOPlaceholderMapping.Title and 4 Contents -Dark-MIOPlaceholderMapping.30MIOPlaceholderMapping.Content Placeholder 24MIOPlaceholderMapping.24MIOPlaceholderMapping-Solace CoversMIOPlaceholderMapping.Title and 4 Contents - GreenMIOPlaceholderMapping.24MIOPlaceholderMapping.Content Placeholder 9MIOPlaceholderMapping.17"/>
</p:tagLst>
</file>

<file path=ppt/tags/tag4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2 Contents over Text -Dark-MIOPlaceholderMapping.31MIOPlaceholderMapping.Content Placeholder 21MIOPlaceholderMapping.21MIOPlaceholderMapping-Solace CoversMIOPlaceholderMapping.2 picts 2 contents - GreenMIOPlaceholderMapping.25MIOPlaceholderMapping.Content Placeholder 8MIOPlaceholderMapping.12MIOPlaceholderMapping;Software AG_CombinedMIOPlaceholderMapping.2 Contents over Text -Dark-MIOPlaceholderMapping.31MIOPlaceholderMapping.Content Placeholder 21MIOPlaceholderMapping.26MIOPlaceholderMapping-Solace CoversMIOPlaceholderMapping.2 picts 2 contents - GreenMIOPlaceholderMapping.25MIOPlaceholderMapping.Content Placeholder 8MIOPlaceholderMapping.13MIOPlaceholderMapping;Software AG_CombinedMIOPlaceholderMapping.2 Contents over Text -Dark-MIOPlaceholderMapping.31MIOPlaceholderMapping.Text Placeholder 11MIOPlaceholderMapping.11MIOPlaceholderMapping-Solace CoversMIOPlaceholderMapping.2 picts 2 contents - GreenMIOPlaceholderMapping.25MIOPlaceholderMapping.Content Placeholder 12MIOPlaceholderMapping.14MIOPlaceholderMapping;Software AG_CombinedMIOPlaceholderMapping.2 Contents over Text -Dark-MIOPlaceholderMapping.31MIOPlaceholderMapping.Text Placeholder 12MIOPlaceholderMapping.12MIOPlaceholderMapping-Solace CoversMIOPlaceholderMapping.2 picts 2 contents - GreenMIOPlaceholderMapping.25MIOPlaceholderMapping.Content Placeholder 12MIOPlaceholderMapping.15"/>
</p:tagLst>
</file>

<file path=ppt/tags/tag4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49.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3 Contents over Text -Dark-MIOPlaceholderMapping.32MIOPlaceholderMapping.Content Placeholder 21MIOPlaceholderMapping.21MIOPlaceholderMapping-Solace CoversMIOPlaceholderMapping.3 picts 3 contents - GreenMIOPlaceholderMapping.26MIOPlaceholderMapping.Content Placeholder 8MIOPlaceholderMapping.12MIOPlaceholderMapping;Software AG_CombinedMIOPlaceholderMapping.3 Contents over Text -Dark-MIOPlaceholderMapping.32MIOPlaceholderMapping.Content Placeholder 22MIOPlaceholderMapping.22MIOPlaceholderMapping-Solace CoversMIOPlaceholderMapping.3 picts 3 contents - GreenMIOPlaceholderMapping.26MIOPlaceholderMapping.Content Placeholder 8MIOPlaceholderMapping.13MIOPlaceholderMapping;Software AG_CombinedMIOPlaceholderMapping.3 Contents over Text -Dark-MIOPlaceholderMapping.32MIOPlaceholderMapping.Content Placeholder 23MIOPlaceholderMapping.23MIOPlaceholderMapping-Solace CoversMIOPlaceholderMapping.3 picts 3 contents - GreenMIOPlaceholderMapping.26MIOPlaceholderMapping.Content Placeholder 8MIOPlaceholderMapping.16MIOPlaceholderMapping;Software AG_CombinedMIOPlaceholderMapping.3 Contents over Text -Dark-MIOPlaceholderMapping.32MIOPlaceholderMapping.Text Placeholder 11MIOPlaceholderMapping.11MIOPlaceholderMapping-Solace CoversMIOPlaceholderMapping.3 picts 3 contents - GreenMIOPlaceholderMapping.26MIOPlaceholderMapping.Content Placeholder 12MIOPlaceholderMapping.14MIOPlaceholderMapping;Software AG_CombinedMIOPlaceholderMapping.3 Contents over Text -Dark-MIOPlaceholderMapping.32MIOPlaceholderMapping.Text Placeholder 12MIOPlaceholderMapping.12MIOPlaceholderMapping-Solace CoversMIOPlaceholderMapping.3 picts 3 contents - GreenMIOPlaceholderMapping.26MIOPlaceholderMapping.Content Placeholder 12MIOPlaceholderMapping.15MIOPlaceholderMapping;Software AG_CombinedMIOPlaceholderMapping.3 Contents over Text -Dark-MIOPlaceholderMapping.32MIOPlaceholderMapping.Text Placeholder 13MIOPlaceholderMapping.13MIOPlaceholderMapping-Solace CoversMIOPlaceholderMapping.3 picts 3 contents - GreenMIOPlaceholderMapping.26MIOPlaceholderMapping.Content Placeholder 12MIOPlaceholderMapping.17"/>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51.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4 Contents over Text -Dark-MIOPlaceholderMapping.33MIOPlaceholderMapping.Content Placeholder 21MIOPlaceholderMapping.21MIOPlaceholderMapping-Solace CoversMIOPlaceholderMapping.4 picts 4 Contents - GreenMIOPlaceholderMapping.27MIOPlaceholderMapping.Content Placeholder 8MIOPlaceholderMapping.12MIOPlaceholderMapping;Software AG_CombinedMIOPlaceholderMapping.4 Contents over Text -Dark-MIOPlaceholderMapping.33MIOPlaceholderMapping.Content Placeholder 22MIOPlaceholderMapping.22MIOPlaceholderMapping-Solace CoversMIOPlaceholderMapping.4 picts 4 Contents - GreenMIOPlaceholderMapping.27MIOPlaceholderMapping.Content Placeholder 8MIOPlaceholderMapping.15MIOPlaceholderMapping;Software AG_CombinedMIOPlaceholderMapping.4 Contents over Text -Dark-MIOPlaceholderMapping.33MIOPlaceholderMapping.Content Placeholder 22MIOPlaceholderMapping.29MIOPlaceholderMapping-Solace CoversMIOPlaceholderMapping.4 picts 4 Contents - GreenMIOPlaceholderMapping.27MIOPlaceholderMapping.Content Placeholder 8MIOPlaceholderMapping.17MIOPlaceholderMapping;Software AG_CombinedMIOPlaceholderMapping.4 Contents over Text -Dark-MIOPlaceholderMapping.33MIOPlaceholderMapping.Content Placeholder 22MIOPlaceholderMapping.28MIOPlaceholderMapping-Solace CoversMIOPlaceholderMapping.4 picts 4 Contents - GreenMIOPlaceholderMapping.27MIOPlaceholderMapping.Content Placeholder 8MIOPlaceholderMapping.19MIOPlaceholderMapping;Software AG_CombinedMIOPlaceholderMapping.4 Contents over Text -Dark-MIOPlaceholderMapping.33MIOPlaceholderMapping.Text Placeholder 11MIOPlaceholderMapping.11MIOPlaceholderMapping-Solace CoversMIOPlaceholderMapping.4 picts 4 Contents - GreenMIOPlaceholderMapping.27MIOPlaceholderMapping.Content Placeholder 12MIOPlaceholderMapping.14MIOPlaceholderMapping;Software AG_CombinedMIOPlaceholderMapping.4 Contents over Text -Dark-MIOPlaceholderMapping.33MIOPlaceholderMapping.Text Placeholder 12MIOPlaceholderMapping.12MIOPlaceholderMapping-Solace CoversMIOPlaceholderMapping.4 picts 4 Contents - GreenMIOPlaceholderMapping.27MIOPlaceholderMapping.Content Placeholder 12MIOPlaceholderMapping.16MIOPlaceholderMapping;Software AG_CombinedMIOPlaceholderMapping.4 Contents over Text -Dark-MIOPlaceholderMapping.33MIOPlaceholderMapping.Text Placeholder 13MIOPlaceholderMapping.13MIOPlaceholderMapping-Solace CoversMIOPlaceholderMapping.4 picts 4 Contents - GreenMIOPlaceholderMapping.27MIOPlaceholderMapping.Content Placeholder 12MIOPlaceholderMapping.18MIOPlaceholderMapping;Software AG_CombinedMIOPlaceholderMapping.4 Contents over Text -Dark-MIOPlaceholderMapping.33MIOPlaceholderMapping.Text Placeholder 14MIOPlaceholderMapping.14MIOPlaceholderMapping-Solace CoversMIOPlaceholderMapping.4 picts 4 Contents - GreenMIOPlaceholderMapping.27MIOPlaceholderMapping.Content Placeholder 12MIOPlaceholderMapping.20"/>
</p:tagLst>
</file>

<file path=ppt/tags/tag5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54.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Closing Slide -Light-MIOPlaceholderMapping.25MIOPlaceholderMapping-Solace CoversMIOPlaceholderMapping.Closing slideMIOPlaceholderMapping.29"/>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56.xml><?xml version="1.0" encoding="utf-8"?>
<p:tagLst xmlns:a="http://schemas.openxmlformats.org/drawingml/2006/main" xmlns:r="http://schemas.openxmlformats.org/officeDocument/2006/relationships" xmlns:p="http://schemas.openxmlformats.org/presentationml/2006/main">
  <p:tag name="MIO_PLACEHOLDER_MAPPING" val="Software AGMIOPlaceholderMapping.Title OnlyMIOPlaceholderMapping.11MIOPlaceholderMapping-Software AGMIOPlaceholderMapping.Title OnlyMIOPlaceholderMapping.8"/>
</p:tagLst>
</file>

<file path=ppt/tags/tag57.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59.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Cover slide A -Dark-MIOPlaceholderMapping.4MIOPlaceholderMapping.Titel 1MIOPlaceholderMapping.0MIOPlaceholderMapping-Solace CoversMIOPlaceholderMapping.Cover 3 - GreenMIOPlaceholderMapping.2MIOPlaceholderMapping.Title 1MIOPlaceholderMapping.0MIOPlaceholderMapping;Software AG_CombinedMIOPlaceholderMapping.Cover slide A -Dark-MIOPlaceholderMapping.4MIOPlaceholderMapping.MIO_CONVERT_SLIDES_SUBTITLEMIOPlaceholderMapping.1MIOPlaceholderMapping-Solace CoversMIOPlaceholderMapping.Cover 3 - GreenMIOPlaceholderMapping.2MIOPlaceholderMapping.Subtitle 2MIOPlaceholderMapping.1MIOPlaceholderMapping;Software AG_CombinedMIOPlaceholderMapping.Cover slide A -Dark-MIOPlaceholderMapping.4MIOPlaceholderMapping.Textplatzhalter 8MIOPlaceholderMapping.36MIOPlaceholderMapping-Solace CoversMIOPlaceholderMapping.Cover 3 - GreenMIOPlaceholderMapping.2MIOPlaceholderMapping.Text Placeholder 9MIOPlaceholderMapping.10"/>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6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63.xml><?xml version="1.0" encoding="utf-8"?>
<p:tagLst xmlns:a="http://schemas.openxmlformats.org/drawingml/2006/main" xmlns:r="http://schemas.openxmlformats.org/officeDocument/2006/relationships" xmlns:p="http://schemas.openxmlformats.org/presentationml/2006/main">
  <p:tag name="MIO_PLACEHOLDER_MAPPING" val="Software AGMIOPlaceholderMapping.Title and ContentMIOPlaceholderMapping.10MIOPlaceholderMapping-Software AGMIOPlaceholderMapping.Title and ContentMIOPlaceholderMapping.7"/>
</p:tagLst>
</file>

<file path=ppt/tags/tag64.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5.xml><?xml version="1.0" encoding="utf-8"?>
<p:tagLst xmlns:a="http://schemas.openxmlformats.org/drawingml/2006/main" xmlns:r="http://schemas.openxmlformats.org/officeDocument/2006/relationships" xmlns:p="http://schemas.openxmlformats.org/presentationml/2006/main">
  <p:tag name="MIO_GUID" val="ba951930-9447-4a60-8272-222d4bd12d69"/>
  <p:tag name="MIO_EKGUID" val="19bdf27e-b2b6-474d-9f6b-a931853b40d6"/>
  <p:tag name="MIO_UPDATE" val="True"/>
  <p:tag name="MIO_VERSION" val="16.02.2022 23:40:49"/>
  <p:tag name="MIO_DBID" val="0F45B44C-9BC7-4D85-81C4-7155EE70A7B9"/>
  <p:tag name="MIO_LASTDOWNLOADED" val="19.12.2024 08:17:58.440"/>
  <p:tag name="MIO_OBJECTNAME" val="S11160 Centered Text 6 Contents (2)"/>
  <p:tag name="MIO_CONTENTTAG" val="OTsO09dL1UC17TxvNxMdz7UZoPN4XmlKhfYPzccrC1c="/>
  <p:tag name="MIO_LASTEDITORNAME" val="Philipp Kern"/>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zgsAAAAAAAAAAAAAIAD///////////////8AAAD///////////////8DAAAABAD///////8DAAAABAD///////8DAAAABAD///////8DAAAAAgD///////////////////////////////////////////////////////////////////////////////////////////////////////////////////////////////////////////////////////////////////////////////////////////////////////////////////////////////////////////////////////////////////////////////////////////////////////////////////////////////////////////////////////////////////////////////////////////////////////////////////////////////////////////////////////////////8BACAA////////////////AAAO////////AwAAAAMA////////////////////////////////////////////////////////////////////////////////////////////////////////////////////////////////////////////////////////////////////////////////////////////////////////////////////////////////////////////////////////////////////////////////////////////////////////////////////////////////////////////////////////////////////////////////////////////////////////////////////////////////////////////////////////////////////////////////////////////////////////////////////////AgAEAP///////wUAAAACABAACwsMa6ImTKZKnd7Rnb5frYAEAAAAAAADAAAABAADAAAAAwADAAAABAADAAAAAwADAAAABAD///////8DAAAAAAD///////8DAAIA////////BQAAAAMAEAALsPXBsHAF0ke0UeSwitS3KwQAAAABAAMAAAACAAMAAAABAAMAAAACAP///////wQAAwD///////8FAAAABAAQAAs2AfBg3YmLRach7wnfTZSi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wxroiZMpkqd3tGdvl+tgAREYXRhAAUAAAAAAk5hbWUADQAAAExpbmtEYXRhTGlzdAAQVmVyc2lvbgAAAAAACUxhc3RXcml0ZQBZCG78lgEAAAABAP////9hAGEAAAAFX2lkABAAAAAEsPXBsHAF0ke0UeSwitS3KwREYXRhAAUAAAAAAk5hbWUADQAAAExpbmtEYXRhTGlzdAAQVmVyc2lvbgABAAAACUxhc3RXcml0ZQB9CG78lgEAAAACAP////9wAHAAAAAFX2lkABAAAAAENgHwYN2Ji0WnIe8J302UogNEYXRhABYAAAACUGVyc29uYWxJZAABAAAAAAACTmFtZQALAAAAUGVyc29uYWxJZAAQVmVyc2lvbgAAAAAACUxhc3RXcml0ZQD7CG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202b7f10-dd22-4747-a5f5-e6935d276b46"/>
  <p:tag name="DOWN_MIGRATION_INITIAL_LAYOUT_REQUIRED" val="9.2.99"/>
  <p:tag name="EMPOWERCHARTSPROPERTIES_LASTWRITEDATE" val="638835885919064983"/>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wD///////8DAAAAAwD///////////////////////////////////////////////////////////////////////////////////////////////////////////////////////////////////////////////////////////////////////////////////////////////////////////////////////////////////////////////////////////////////////////////////////////////////////////////////////////////////////////////////////////////////////////////////////////////////////////////////////////////////////////////////////////////8BACAA////////////////AAAO////////AwAAAAMA////////////////////////////////////////////////////////////////////////////////////////////////////////////////////////////////////////////////////////////////////////////////////////////////////////////////////////////////////////////////////////////////////////////////////////////////////////////////////////////////////////////////////////////////////////////////////////////////////////////////////////////////////////////////////////////////////////////////////////////////////////////////////////AgACAP///////wUAAAACABAACxa1npvhQepNicrlX2ivnW0EAAAAAAADAAAAAAADAAAABAADAAAAAAADAAAABAADAAQA////////BQAAAAMAEAAL3ahO6VQvF0SdK3Z7xUaRcAQAAAABAAMAAAAEAAMAAAABAAMAAAAEAP///////wMAAAAAAP///////wMAAAAAAP///////wQAAgD///////8FAAAABAAQAAtEdmW78jb8RZezU3psZUpS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rWem+FB6k2JyuVfaK+dbQREYXRhAAUAAAAAAk5hbWUADQAAAExpbmtEYXRhTGlzdAAQVmVyc2lvbgAAAAAACUxhc3RXcml0ZQBGCm78lgEAAAABAP////9hAGEAAAAFX2lkABAAAAAE3ahO6VQvF0SdK3Z7xUaRcAREYXRhAAUAAAAAAk5hbWUADQAAAExpbmtEYXRhTGlzdAAQVmVyc2lvbgABAAAACUxhc3RXcml0ZQBHCm78lgEAAAACAP////9wAHAAAAAFX2lkABAAAAAERHZlu/I2/EWXs1N6bGVKUgNEYXRhABYAAAACUGVyc29uYWxJZAABAAAAAAACTmFtZQALAAAAUGVyc29uYWxJZAAQVmVyc2lvbgAAAAAACUxhc3RXcml0ZQBxCm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DAP///////wUAAAADAP///////////////////////////////////////////////////////////////////////////////////////////////////////////////////////////////////////////////////////////////////////////////////////////////////////////////////////////////////////////////////////////////////////////////////////////////////////////////////////////////////////////////////////////////////////////////////////////////////////////////////////////////////////////////////////////////wEAIAH///////////////8AAA7///////8FAAAABAD///////////////////////////////////////////////////////////////////////////////////////////////////////////////////////////////////////////////////////////////////////////////////////////////////////////////////////////////////////////////////////////////////////////////////////////////////////////////////////////////////////////////////////////////////////////////////////////////////////////////////////////////////////////////////////////////////////////////////////////////////////////////////////8CAAIBAwAAAAIA////////DgAGTGlua0RhdGFMaXN0XzAEAAAAAAAFAAAAAAAFAAAAAwAFAAAAAAAFAAAAAwADAAQBAwAAAAMA////////DgAGTGlua0RhdGFMaXN0XzEEAAAAAQAFAAAAAgAFAAAABAAFAAAAAgAFAAAABAA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52a49ed-6059-4fdd-9270-32234b3d6a8c"/>
  <p:tag name="DOWN_MIGRATION_INITIAL_LAYOUT_REQUIRED" val="9.2.99"/>
  <p:tag name="EMPOWERCHARTSPROPERTIES_LASTWRITEDATE" val="638835885922680856"/>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gD///////////////////////////////////////////////////////////////////////////////////////////////////////////////////////////////////////////////////////////////////////////////////////////////////////////////////////////////////////////////////////////////////////////////////////////////////////////////////////////////////////////////////////////////////////////////////////////////////////////////////////////////////////////////////////////////////////////////////////////////8BACAA////////////////AAAO////////AwAAAAMA////////////////////////////////////////////////////////////////////////////////////////////////////////////////////////////////////////////////////////////////////////////////////////////////////////////////////////////////////////////////////////////////////////////////////////////////////////////////////////////////////////////////////////////////////////////////////////////////////////////////////////////////////////////////////////////////////////////////////////////////////////////////////////AgACAP///////wUAAAACABAAC1lZViFU87ZEm8kzKqm9rxQEAAAAAAADAAAAAAADAAAABAADAAAAAAD///////8DAAEA////////BQAAAAMAEAALduSgzyPrg0+3jFJ+N7prXgQAAAABAAMAAAAEAAMAAAABAAQAAQD///////8FAAAABAAQAAtF+guRQoG9QpaCJJ771vg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VlWIVTztkSbyTMqqb2vFAREYXRhAAUAAAAAAk5hbWUADQAAAExpbmtEYXRhTGlzdAAQVmVyc2lvbgABAAAACUxhc3RXcml0ZQC6Cm78lgEAAAABAP////9hAGEAAAAFX2lkABAAAAAEduSgzyPrg0+3jFJ+N7prXgREYXRhAAUAAAAAAk5hbWUADQAAAExpbmtEYXRhTGlzdAAQVmVyc2lvbgAAAAAACUxhc3RXcml0ZQC4Cm78lgEAAAACAP////9wAHAAAAAFX2lkABAAAAAERfoLkUKBvUKWgiSe+9b4LwNEYXRhABYAAAACUGVyc29uYWxJZAABAAAAAAACTmFtZQALAAAAUGVyc29uYWxJZAAQVmVyc2lvbgAAAAAACUxhc3RXcml0ZQDdCm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EAP///////wUAAAAEAP///////////////////////////////////////////////////////////////////////////////////////////////////////////////////////////////////////////////////////////////////////////////////////////////////////////////////////////////////////////////////////////////////////////////////////////////////////////////////////////////////////////////////////////////////////////////////////////////////////////////////////////////////////////////////////////////wEAIAH///////////////8AAA7///////8FAAAABAD///////////////////////////////////////////////////////////////////////////////////////////////////////////////////////////////////////////////////////////////////////////////////////////////////////////////////////////////////////////////////////////////////////////////////////////////////////////////////////////////////////////////////////////////////////////////////////////////////////////////////////////////////////////////////////////////////////////////////////////////////////////////////////8CAAIBAwAAAAIA////////DgAGTGlua0RhdGFMaXN0XzEEAAAAAAAFAAAAAwAFAAAABAAFAAAAAAAFAAAABAADAAEBAwAAAAMA////////DgAGTGlua0RhdGFMaXN0XzAEAAAAAQ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c5a176d8-60cd-4877-869c-aac1a42ab42f"/>
  <p:tag name="DOWN_MIGRATION_INITIAL_LAYOUT_REQUIRED" val="9.2.99"/>
  <p:tag name="EMPOWERCHARTSPROPERTIES_LASTWRITEDATE" val="638835885923846347"/>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IBAQEBAQEBAQEBAQEBAQMAAAAAAAAAAwAAAAMAAAAA/////wUAqgsAAAAAAAAAAAAAIAD///////////////8AAAD///////////////8DAAAAAgD///////8DAAAAAgD///////8DAAAABAD///////8DAAAABAD///////8DAAAABAD///////8DAAAABAD///////8DAAAABAD///////8DAAAABAD///////////////////////////////////////////////////////////////////////////////////////////////////////////////////////////////////////////////////////////////////////////////////////////////////////////////////////////////////////////////////////////////////////////////////////////////////////////////////////////////////////////////////////////////////////////////////////////////8BACAA////////////////AAAO////////AwAAAAMA////////////////////////////////////////////////////////////////////////////////////////////////////////////////////////////////////////////////////////////////////////////////////////////////////////////////////////////////////////////////////////////////////////////////////////////////////////////////////////////////////////////////////////////////////////////////////////////////////////////////////////////////////////////////////////////////////////////////////////////////////////////////////////AgACAP///////wUAAAACABAAC9eluo94cEVJr/h2naGqlw0EAAAAAAADAAAAAAADAAAABAADAAAAAAADAAAABAADAAIA////////BQAAAAMAEAAL1RM+1zeXPEK0DKlGlVS7qQQAAAABAAMAAAAEAAMAAAABAAMAAAAEAP///////wQACAD///////8FAAAABAAQAAvZMdDUqxaaSapCh2cUmz5wBAAAAAIAAwAAAAIAAwAAAAMAAwAAAAIAAwAAAAM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6W6j3hwRUmv+HadoaqXDQREYXRhAAUAAAAAAk5hbWUADQAAAExpbmtEYXRhTGlzdAAQVmVyc2lvbgABAAAACUxhc3RXcml0ZQAmC278lgEAAAABAP////9hAGEAAAAFX2lkABAAAAAE1RM+1zeXPEK0DKlGlVS7qQREYXRhAAUAAAAAAk5hbWUADQAAAExpbmtEYXRhTGlzdAAQVmVyc2lvbgAAAAAACUxhc3RXcml0ZQAjC278lgEAAAACAP////9wAHAAAAAFX2lkABAAAAAE2THQ1KsWmkmqQodnFJs+cANEYXRhABYAAAACUGVyc29uYWxJZAABAAAAAAACTmFtZQALAAAAUGVyc29uYWxJZAAQVmVyc2lvbgAAAAAACUxhc3RXcml0ZQBIC2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deabfc64-7a81-4b5e-861d-9f36716f81a7"/>
  <p:tag name="DOWN_MIGRATION_INITIAL_LAYOUT_REQUIRED" val="9.2.99"/>
  <p:tag name="EMPOWERCHARTSPROPERTIES_LASTWRITEDATE" val="638835885924823015"/>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AwD///////8DAAAAAwD///////8DAAAAAwD///////8DAAAAAwD///////////////////////////////////////////////////////////////////////////////////////////////////////////////////////////////////////////////////////////////////////////////////////////////////////////////////////////////////////////////////////////////////////////////////////////////////////////////////////////////////////////////////////////////////////////////////////////////////////////////////////////////8BACAA////////////////AAAO////////AwAAAAQA////////////////////////////////////////////////////////////////////////////////////////////////////////////////////////////////////////////////////////////////////////////////////////////////////////////////////////////////////////////////////////////////////////////////////////////////////////////////////////////////////////////////////////////////////////////////////////////////////////////////////////////////////////////////////////////////////////////////////////////////////////////////////////AgACAP///////wUAAAACABAAC4RWI1JRrDVMpFIblt643ycEAAAAAAADAAAAAAADAAAAAwADAAAAAAADAAAAAwADAAYA////////BQAAAAMAEAAL5q7Ov4gwtkahH+NUuQf9fgQAAAABAAMAAAACAAMAAAAEAAMAAAACAP///////wMAAAAAAP///////wMAAAAAAP///////wMAAAAAAP///////wMAAAAAAP///////wQAAQD///////8FAAAABAAQAAszvzDt2vs0TIO1M5gm/QF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FYjUlGsNUykUhuW3rjfJwREYXRhAAUAAAAAAk5hbWUADQAAAExpbmtEYXRhTGlzdAAQVmVyc2lvbgABAAAACUxhc3RXcml0ZQCTC278lgEAAAABAP////9hAGEAAAAFX2lkABAAAAAE5q7Ov4gwtkahH+NUuQf9fgREYXRhAAUAAAAAAk5hbWUADQAAAExpbmtEYXRhTGlzdAAQVmVyc2lvbgAAAAAACUxhc3RXcml0ZQCSC278lgEAAAACAP////9wAHAAAAAFX2lkABAAAAAEM78w7dr7NEyDtTOYJv0BYwNEYXRhABYAAAACUGVyc29uYWxJZAABAAAAAAACTmFtZQALAAAAUGVyc29uYWxJZAAQVmVyc2lvbgAAAAAACUxhc3RXcml0ZQCzC2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UAAAADAP///////////////////////////////////////////////////////////////////////////////////////////////////////////////////////////////////////////////////////////////////////////////////////////////////////////////////////////////////////////////////////////////////////////////////////////////////////////////////////////////////////////////////////////////////////////////////////////////////////////////////////////////wEAIAH///////////////8AAA7///////8FAAAABAD///////////////////////////////////////////////////////////////////////////////////////////////////////////////////////////////////////////////////////////////////////////////////////////////////////////////////////////////////////////////////////////////////////////////////////////////////////////////////////////////////////////////////////////////////////////////////////////////////////////////////////////////////////////////////////////////////////////////////////////////////////////////////////8CAAIBAwAAAAIA////////DgAGTGlua0RhdGFMaXN0XzEEAAAAAAAFAAAAAwAFAAAABAAFAAAAAwAFAAAABAADAAYBAwAAAAMA////////DgAGTGlua0RhdGFMaXN0XzAEAAAAAQAFAAAAAAAFAAAAAgAFAAAAAAAFAAAAAgAFAAAAAAAFAAAABAAFAAAAAAAFAAAABAAFAAAAAAD///////8FAAAAAAD///////8EAAQBAwAAAAQA////////DAAGUGVyc29uYWxJZF8wBAAAAAIABQAAAAIABQAAAAEABQAAAAI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e541eea-98c5-4d21-8db6-78772ee0204c"/>
  <p:tag name="DOWN_MIGRATION_INITIAL_LAYOUT_REQUIRED" val="9.2.99"/>
  <p:tag name="EMPOWERCHARTSPROPERTIES_LASTWRITEDATE" val="638835885925925324"/>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8GkY4Osh1JJpahPAlBScJAEAAAAAAADAAAABAADAAAAAwADAAIA////////BQAAAAMAEAALoRQtp8CCTkyUnz6dPp/vGgQAAAABAAMAAAACAAMAAAABAAMAAAAAAP///////wQAAQD///////8FAAAABAAQAAue0C4KhcTyQpQ+97vDi/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aRjg6yHUkmlqE8CUFJwkAREYXRhAAUAAAAAAk5hbWUADQAAAExpbmtEYXRhTGlzdAAQVmVyc2lvbgAAAAAACUxhc3RXcml0ZQDnC278lgEAAAABAP////9hAGEAAAAFX2lkABAAAAAEoRQtp8CCTkyUnz6dPp/vGgREYXRhAAUAAAAAAk5hbWUADQAAAExpbmtEYXRhTGlzdAAQVmVyc2lvbgABAAAACUxhc3RXcml0ZQDnC278lgEAAAACAP////9wAHAAAAAFX2lkABAAAAAEntAuCoXE8kKUPve7w4v8fgNEYXRhABYAAAACUGVyc29uYWxJZAABAAAAAAACTmFtZQALAAAAUGVyc29uYWxJZAAQVmVyc2lvbgAAAAAACUxhc3RXcml0ZQAIDG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b58227d4-5b01-40f6-99f1-812838a1ed43"/>
  <p:tag name="DOWN_MIGRATION_INITIAL_LAYOUT_REQUIRED" val="9.2.99"/>
  <p:tag name="EMPOWERCHARTSPROPERTIES_LASTWRITEDATE" val="638835885926771877"/>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BAD///////////////////////////////////////////////////////////////////////////////////////////////////////////////////////////////////////////////////////////////////////////////////////////////////////////////////////////////////////////////////////////////////////////////////////////////////////////////////////////////////////////////////////////////////////////////////////////////////////////////////////////////////////////////////////////////////////////////////////////////8BACAA////////////////AAAO////////AwAAAAMA////////////////////////////////////////////////////////////////////////////////////////////////////////////////////////////////////////////////////////////////////////////////////////////////////////////////////////////////////////////////////////////////////////////////////////////////////////////////////////////////////////////////////////////////////////////////////////////////////////////////////////////////////////////////////////////////////////////////////////////////////////////////////////AgABAP///////wUAAAACABAAC9dLfHoN6HxLnwx3TY5IlwkEAAAAAAADAAAAAAADAAAABAADAAEA////////BQAAAAMAEAALwtz63v9D906OezMa7iVw8QQAAAABAAMAAAAEAAMAAAABAAQAAgD///////8FAAAABAAQAAvoklLLQwtvR4HOF107GQa0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0t8eg3ofEufDHdNjkiXCQREYXRhAAUAAAAAAk5hbWUADQAAAExpbmtEYXRhTGlzdAAQVmVyc2lvbgABAAAACUxhc3RXcml0ZQBZDG78lgEAAAABAP////9hAGEAAAAFX2lkABAAAAAEwtz63v9D906OezMa7iVw8QREYXRhAAUAAAAAAk5hbWUADQAAAExpbmtEYXRhTGlzdAAQVmVyc2lvbgAAAAAACUxhc3RXcml0ZQBZDG78lgEAAAACAP////9wAHAAAAAFX2lkABAAAAAE6JJSy0MLb0eBzhddOxkGtANEYXRhABYAAAACUGVyc29uYWxJZAABAAAAAAACTmFtZQALAAAAUGVyc29uYWxJZAAQVmVyc2lvbgAAAAAACUxhc3RXcml0ZQB/DG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f0a1cfe-1a12-4a33-9a4e-e299c3b58c5c"/>
  <p:tag name="DOWN_MIGRATION_INITIAL_LAYOUT_REQUIRED" val="9.2.99"/>
  <p:tag name="EMPOWERCHARTSPROPERTIES_LASTWRITEDATE" val="638835885927949288"/>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BAD///////8DAAAAAwD///////////////////////////////////////////////////////////////////////////////////////////////////////////////////////////////////////////////////////////////////////////////////////////////////////////////////////////////////////////////////////////////////////////////////////////////////////////////////////////////////////////////////////////////////////////////////////////////////////////////////////////////////////////////////////////////8BACAA////////////////AAAO////////AwAAAAMA////////////////////////////////////////////////////////////////////////////////////////////////////////////////////////////////////////////////////////////////////////////////////////////////////////////////////////////////////////////////////////////////////////////////////////////////////////////////////////////////////////////////////////////////////////////////////////////////////////////////////////////////////////////////////////////////////////////////////////////////////////////////////////AgABAP///////wUAAAACABAACyguXd8T319Ajv5DjsIc7cUEAAAAAAADAAAABAADAAAAAwADAAQA////////BQAAAAMAEAALveRh5Dtn8k+CgH6AIo13ZgQAAAABAAMAAAACAAMAAAABAAMAAAAEAP///////wMAAAAEAP///////wMAAAAAAP///////wQAAwD///////8FAAAABAAQAAtgKWeBDfJzQJFn1e11KGBJBAAAAAIAAwAAAAAAAwAAAAI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C5d3xPfX0CO/kOOwhztxQREYXRhAAUAAAAAAk5hbWUADQAAAExpbmtEYXRhTGlzdAAQVmVyc2lvbgABAAAACUxhc3RXcml0ZQDSDG78lgEAAAABAP////9hAGEAAAAFX2lkABAAAAAEveRh5Dtn8k+CgH6AIo13ZgREYXRhAAUAAAAAAk5hbWUADQAAAExpbmtEYXRhTGlzdAAQVmVyc2lvbgAAAAAACUxhc3RXcml0ZQDRDG78lgEAAAACAP////9wAHAAAAAFX2lkABAAAAAEYClngQ3yc0CRZ9XtdShgSQNEYXRhABYAAAACUGVyc29uYWxJZAABAAAAAAACTmFtZQALAAAAUGVyc29uYWxJZAAQVmVyc2lvbgAAAAAACUxhc3RXcml0ZQD4DG78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EBAwAAAAIA////////DgAGTGlua0RhdGFMaXN0XzEEAAAAAAAFAAAAAwAFAAAABAADAAQBAwAAAAMA////////DgAGTGlua0RhdGFMaXN0XzAEAAAAAQAFAAAAAAAFAAAAAgAFAAAAAAAFAAAABAA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3d3c73f0-866e-4951-97cc-00e1199607b8"/>
  <p:tag name="DOWN_MIGRATION_INITIAL_LAYOUT_REQUIRED" val="9.2.99"/>
  <p:tag name="EMPOWERCHARTSPROPERTIES_LASTWRITEDATE" val="638835885929218335"/>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5OAwzZIv1FBv6T8F14WT34EAAAAAAADAAAAAAADAAAABAADAAMA////////BQAAAAMAEAALBBvF/0cu5UuSAdI6TaabIQQAAAABAAMAAAAEAAMAAAABAAMAAAAEAP///////wMAAAAAAP///////wQAAgD///////8FAAAABAAQAAueJAxtLNOURpcUf9WJwrWJ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4DDNki/UUG/pPwXXhZPfgREYXRhAAUAAAAAAk5hbWUADQAAAExpbmtEYXRhTGlzdAAQVmVyc2lvbgAAAAAACUxhc3RXcml0ZQC6rTtElwEAAAABAP////9hAGEAAAAFX2lkABAAAAAEBBvF/0cu5UuSAdI6TaabIQREYXRhAAUAAAAAAk5hbWUADQAAAExpbmtEYXRhTGlzdAAQVmVyc2lvbgABAAAACUxhc3RXcml0ZQC9rTtElwEAAAACAP////9wAHAAAAAFX2lkABAAAAAEniQMbSzTlEaXFH/VicK1iQNEYXRhABYAAAACUGVyc29uYWxJZAABAAAAAAACTmFtZQALAAAAUGVyc29uYWxJZAAQVmVyc2lvbgAAAAAACUxhc3RXcml0ZQAHrjtE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7932513540774"/>
  <p:tag name="EMPOWERCHARTSPROPERTIES_B_LENGTH" val="24576"/>
  <p:tag name="DOWN_MIGRATION_INITIAL_LAYOUT_REQUIRED" val="9.2.99"/>
  <p:tag name="RUNTIME_ID" val="27e2e0b0-f1f8-45d8-98da-a96f57d46f1c"/>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04lqWKnKrZEglKjta5fp20EAAAAAAADAAAAAAADAAAAAwADAAEA////////BQAAAAMAEAAL3lHRZytUck+31fsLN4ZdpQQAAAABAAMAAAACAAMAAAAEAAQAAgD///////8FAAAABAAQAAt6xyGflPiNQpndjcdCokQA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iWpYqcqtkSCUqO1rl+nbQREYXRhAAUAAAAAAk5hbWUADQAAAExpbmtEYXRhTGlzdAAQVmVyc2lvbgAAAAAACUxhc3RXcml0ZQCTrjtElwEAAAABAP////9hAGEAAAAFX2lkABAAAAAE3lHRZytUck+31fsLN4ZdpQREYXRhAAUAAAAAAk5hbWUADQAAAExpbmtEYXRhTGlzdAAQVmVyc2lvbgABAAAACUxhc3RXcml0ZQCWrjtElwEAAAACAP////9wAHAAAAAFX2lkABAAAAAEeschn5T4jUKZ3Y3HQqJEAANEYXRhABYAAAACUGVyc29uYWxJZAABAAAAAAACTmFtZQALAAAAUGVyc29uYWxJZAAQVmVyc2lvbgAAAAAACUxhc3RXcml0ZQCwrjtE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7932515261835"/>
  <p:tag name="EMPOWERCHARTSPROPERTIES_B_LENGTH" val="24576"/>
  <p:tag name="DOWN_MIGRATION_INITIAL_LAYOUT_REQUIRED" val="9.2.99"/>
  <p:tag name="RUNTIME_ID" val="2cc34e48-5ead-4bad-b978-afa4c965ec81"/>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BAD///////8DAAAABAD///////8DAAAAAwD///////8DAAAAAwD///////8DAAAAAwD///////////////////////////////////////////////////////////////////////////////////////////////////////////////////////////////////////////////////////////////////////////////////////////////////////////////////////////////////////////////////////////////////////////////////////////////////////////////////////////////////////////////////////////////////////////////////////////////////////////////////////////////////////////////8BACAA////////////////AAAO////////AwAAAAMA////////////////////////////////////////////////////////////////////////////////////////////////////////////////////////////////////////////////////////////////////////////////////////////////////////////////////////////////////////////////////////////////////////////////////////////////////////////////////////////////////////////////////////////////////////////////////////////////////////////////////////////////////////////////////////////////////////////////////////////////////////////////////////AgABAP///////wUAAAACABAAC9C3q6d38YtBgHQQxZe8+ocEAAAAAAADAAAABAADAAAAAwADAAUA////////BQAAAAMAEAALBzk+qSyldEi7LYMLcGkJvgQAAAABAAMAAAACAAMAAAABAAMAAAAEAP///////wMAAAAAAP///////wMAAAAAAP///////wMAAAAAAP///////wQAAgD///////8FAAAABAAQAAs1ZSF/3EFHS7S9GQDWoMV8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Lerp3fxi0GAdBDFl7z6hwREYXRhAAUAAAAAAk5hbWUADQAAAExpbmtEYXRhTGlzdAAQVmVyc2lvbgAAAAAACUxhc3RXcml0ZQDlrjtElwEAAAABAP////9hAGEAAAAFX2lkABAAAAAEBzk+qSyldEi7LYMLcGkJvgREYXRhAAUAAAAAAk5hbWUADQAAAExpbmtEYXRhTGlzdAAQVmVyc2lvbgABAAAACUxhc3RXcml0ZQDrrjtElwEAAAACAP////9wAHAAAAAFX2lkABAAAAAENWUhf9xBR0u0vRkA1qDFfANEYXRhABYAAAACUGVyc29uYWxJZAABAAAAAAACTmFtZQALAAAAUGVyc29uYWxJZAAQVmVyc2lvbgAAAAAACUxhc3RXcml0ZQD/rjtE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DAP///////wUAAAADAP///////wUAAAADAP///////wUAAAADAP///////////////////////////////////////////////////////////////////////////////////////////////////////////////////////////////////////////////////////////////////////////////////////////////////////////////////////////////////////////////////////////////////////////////////////////////////////////////////////////////////////////////////////////////////////////////////////////////////////////////////////////////////////////////wEAIAH///////////////8AAA7///////8FAAAABAD///////////////////////////////////////////////////////////////////////////////////////////////////////////////////////////////////////////////////////////////////////////////////////////////////////////////////////////////////////////////////////////////////////////////////////////////////////////////////////////////////////////////////////////////////////////////////////////////////////////////////////////////////////////////////////////////////////////////////////////////////////////////////////8CAAEBAwAAAAIA////////DgAGTGlua0RhdGFMaXN0XzAEAAAAAAAFAAAAAAAFAAAAAwADAAUBAwAAAAMA////////DgAGTGlua0RhdGFMaXN0XzEEAAAAAQAFAAAAAgAFAAAABAAFAAAAAAAFAAAABAAFAAAAAAAFAAAABAAFAAAAAAAFAAAABAAFAAAAAAD///////8EAAQBAwAAAAQA////////DAAGUGVyc29uYWxJZF8wBAAAAAIABQAAAAMABQAAAAE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7932516035360"/>
  <p:tag name="EMPOWERCHARTSPROPERTIES_B_LENGTH" val="24576"/>
  <p:tag name="DOWN_MIGRATION_INITIAL_LAYOUT_REQUIRED" val="9.2.99"/>
  <p:tag name="RUNTIME_ID" val="27d27b96-da74-4f42-ba53-f570b36f0d73"/>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wD///////////////////////////////////////////////////////////////////////////////////////////////////////////////////////////////////////////////////////////////////////////////////////////////////////////////////////////////////////////////////////////////////////////////////////////////////////////////////////////////////////////////////////////////////////////////////////////////////////////////////////////////////////////////////////////////8BACAA////////////////AAAO////////AwAAAAQA////////////////////////////////////////////////////////////////////////////////////////////////////////////////////////////////////////////////////////////////////////////////////////////////////////////////////////////////////////////////////////////////////////////////////////////////////////////////////////////////////////////////////////////////////////////////////////////////////////////////////////////////////////////////////////////////////////////////////////////////////////////////////////AgADAP///////wUAAAACABAAC0MP1Xg5Rv1FkjeBgK4J9RsEAAAAAAADAAAAAAADAAAAAwADAAAAAAADAAAAAwADAAAAAAADAAAAAwADAAQA////////BQAAAAMAEAALpFW2qlLyeEe9lDefumblEwQAAAABAAMAAAACAAMAAAAEAAMAAAACAAMAAAAEAAMAAAACAP///////wMAAAAAAP///////wQAAgD///////8FAAAABAAQAAtCRADgrc7nTaEFN0uSlG7M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w/VeDlG/UWSN4GArgn1GwREYXRhAAUAAAAAAk5hbWUADQAAAExpbmtEYXRhTGlzdAAQVmVyc2lvbgAAAAAACUxhc3RXcml0ZQAEen0HmwEAAAABAP////9hAGEAAAAFX2lkABAAAAAEpFW2qlLyeEe9lDefumblEwREYXRhAAUAAAAAAk5hbWUADQAAAExpbmtEYXRhTGlzdAAQVmVyc2lvbgABAAAACUxhc3RXcml0ZQAOen0HmwEAAAACAP////9wAHAAAAAFX2lkABAAAAAEQkQA4K3O502hBTdLkpRuzANEYXRhABYAAAACUGVyc29uYWxJZAABAAAAAAACTmFtZQALAAAAUGVyc29uYWxJZAAQVmVyc2lvbgAAAAAACUxhc3RXcml0ZQAoen0H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DAP///////////////////////////////////////////////////////////////////////////////////////////////////////////////////////////////////////////////////////////////////////////////////////////////////////////////////////////////////////////////////////////////////////////////////////////////////////////////////////////////////////////////////////////////////////////////////////////////////////////////////////////////////////////////////////////////wEAIAH///////////////8AAA7///////8FAAAABAD///////////////////////////////////////////////////////////////////////////////////////////////////////////////////////////////////////////////////////////////////////////////////////////////////////////////////////////////////////////////////////////////////////////////////////////////////////////////////////////////////////////////////////////////////////////////////////////////////////////////////////////////////////////////////////////////////////////////////////////////////////////////////////8CAAMBAwAAAAIA////////DgAGTGlua0RhdGFMaXN0XzAEAAAAAAAFAAAAAAAFAAAAAwAFAAAAAAAFAAAAAwAFAAAAAAAFAAAAAwADAAQBAwAAAAMA////////DgAGTGlua0RhdGFMaXN0XzEEAAAAAQAFAAAAAgAFAAAABAAFAAAAAgAFAAAABAAFAAAAAgAFAAAABAA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09540224627706"/>
  <p:tag name="EMPOWERCHARTSPROPERTIES_B_LENGTH" val="24576"/>
  <p:tag name="DOWN_MIGRATION_INITIAL_LAYOUT_REQUIRED" val="9.2.99"/>
  <p:tag name="RUNTIME_ID" val="b9e62e01-7837-4b47-b143-1948afefd507"/>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BAD///////8DAAAAAgD///////8DAAAAAgD///////8DAAAAAgD///////8DAAAAAgD///////////////////////////////////////////////////////////////////////////////////////////////////////////////////////////////////////////////////////////////////////////////////////////////////////////////////////////////////////////////////////////////////////////////////////////////////////////////////////////////////////////////////////////////////////////////////////////////////////////////////////////////////////////////8BACAA////////////////AAAO////////AwAAAAMA////////////////////////////////////////////////////////////////////////////////////////////////////////////////////////////////////////////////////////////////////////////////////////////////////////////////////////////////////////////////////////////////////////////////////////////////////////////////////////////////////////////////////////////////////////////////////////////////////////////////////////////////////////////////////////////////////////////////////////////////////////////////////////AgAFAP///////wUAAAACABAAC4AsRrMw0NNAk2/G77Jef8oEAAAAAAADAAAABAADAAAAAwADAAAAAAADAAAAAwADAAAAAAADAAAAAwADAAAAAAADAAAAAwADAAAAAAADAAAAAwADAAUA////////BQAAAAMAEAALo1zx1As+4kaVYPjdjFO62gQAAAABAAMAAAACAAMAAAABAAMAAAACAP///////wMAAAACAP///////wMAAAACAP///////wMAAAACAP///////wQAAQD///////8FAAAABAAQAAtJV2yyhmH4RLSccBr8WVA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CxGszDQ00CTb8bvsl5/ygREYXRhAAUAAAAAAk5hbWUADQAAAExpbmtEYXRhTGlzdAAQVmVyc2lvbgABAAAACUxhc3RXcml0ZQBSe30HmwEAAAABAP////9hAGEAAAAFX2lkABAAAAAEo1zx1As+4kaVYPjdjFO62gREYXRhAAUAAAAAAk5hbWUADQAAAExpbmtEYXRhTGlzdAAQVmVyc2lvbgAAAAAACUxhc3RXcml0ZQBQe30HmwEAAAACAP////9wAHAAAAAFX2lkABAAAAAESVdssoZh+ES0nHAa/FlQJwNEYXRhABYAAAACUGVyc29uYWxJZAABAAAAAAACTmFtZQALAAAAUGVyc29uYWxJZAAQVmVyc2lvbgAAAAAACUxhc3RXcml0ZQBye30H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EAIAH///////////////8AAA7///////8FAAAABAD///////////////////////////////////////////////////////////////////////////////////////////////////////////////////////////////////////////////////////////////////////////////////////////////////////////////////////////////////////////////////////////////////////////////////////////////////////////////////////////////////////////////////////////////////////////////////////////////////////////////////////////////////////////////////////////////////////////////////////////////////////////////////////8CAAUBAwAAAAIA////////DgAGTGlua0RhdGFMaXN0XzEEAAAAAAAFAAAAAwAFAAAABAAFAAAAAwAFAAAABAAFAAAAAwD///////8FAAAAAwD///////8FAAAAAwD///////8DAAUBAwAAAAMA////////DgAGTGlua0RhdGFMaXN0XzAEAAAAAQAFAAAAAAAFAAAAAgAFAAAAAAAFAAAAAgAFAAAAAAAFAAAAAg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09540227921991"/>
  <p:tag name="EMPOWERCHARTSPROPERTIES_B_LENGTH" val="24576"/>
  <p:tag name="DOWN_MIGRATION_INITIAL_LAYOUT_REQUIRED" val="9.2.99"/>
  <p:tag name="RUNTIME_ID" val="c2ac36b0-aa13-4ec9-a54d-d57eb5fbdb73"/>
</p:tagLst>
</file>

<file path=ppt/tags/tag79.xml><?xml version="1.0" encoding="utf-8"?>
<p:tagLst xmlns:a="http://schemas.openxmlformats.org/drawingml/2006/main" xmlns:r="http://schemas.openxmlformats.org/officeDocument/2006/relationships" xmlns:p="http://schemas.openxmlformats.org/presentationml/2006/main">
  <p:tag name="MIO_GUID" val="b5721348-caf3-4ad3-9b0a-49869dbd200a"/>
  <p:tag name="MIO_EKGUID" val="7d94a6f9-4340-4297-82f9-595afcd13ba2"/>
  <p:tag name="MIO_UPDATE" val="True"/>
  <p:tag name="MIO_VERSION" val="09.04.2025 13:58:24"/>
  <p:tag name="MIO_DBID" val="0F45B44C-9BC7-4D85-81C4-7155EE70A7B9"/>
  <p:tag name="MIO_LASTDOWNLOADED" val="10.12.2025 09:56:30.814"/>
  <p:tag name="MIO_OBJECTNAME" val="Infographic (6)"/>
  <p:tag name="MIO_CONTENTTAG" val="FPvRJ5z2qEq2IvvxKIgPoA=="/>
  <p:tag name="MIO_LASTEDITORNAME" val="Maureen Mattravers"/>
</p:tagLst>
</file>

<file path=ppt/tags/tag8.xml><?xml version="1.0" encoding="utf-8"?>
<p:tagLst xmlns:a="http://schemas.openxmlformats.org/drawingml/2006/main" xmlns:r="http://schemas.openxmlformats.org/officeDocument/2006/relationships" xmlns:p="http://schemas.openxmlformats.org/presentationml/2006/main">
  <p:tag name="MIO_PLACEHOLDER_MAPPING" val="Software AG_CombinedMIOPlaceholderMapping.Title and Content -Light-MIOPlaceholderMapping.10MIOPlaceholderMapping.Title 1MIOPlaceholderMapping.0MIOPlaceholderMapping-Solace CoversMIOPlaceholderMapping.Title and Content - WhiteMIOPlaceholderMapping.3MIOPlaceholderMapping.Title 1MIOPlaceholderMapping.0MIOPlaceholderMapping;Software AG_CombinedMIOPlaceholderMapping.Title and Content -Light-MIOPlaceholderMapping.10MIOPlaceholderMapping.MIO_CONVERT_SLIDES_SUBTITLEMIOPlaceholderMapping.1MIOPlaceholderMapping-Solace CoversMIOPlaceholderMapping.Title and Content - WhiteMIOPlaceholderMapping.3MIOPlaceholderMapping.Subtitle 1MIOPlaceholderMapping.1MIOPlaceholderMapping;Software AG_CombinedMIOPlaceholderMapping.Title and Content -Light-MIOPlaceholderMapping.10MIOPlaceholderMapping.Content Placeholder 21MIOPlaceholderMapping.21MIOPlaceholderMapping-Solace CoversMIOPlaceholderMapping.Title and Content - WhiteMIOPlaceholderMapping.3MIOPlaceholderMapping.Content Placeholder 5MIOPlaceholderMapping.12MIOPlaceholderMapping;Software AG_CombinedMIOPlaceholderMapping.Title and Content -Light-MIOPlaceholderMapping.10MIOPlaceholderMapping.Content Placeholder 14MIOPlaceholderMapping.26MIOPlaceholderMapping-Solace CoversMIOPlaceholderMapping.Title and Content - WhiteMIOPlaceholderMapping.3MIOPlaceholderMapping.Content Placeholder 9MIOPlaceholderMapping.15"/>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7DciDsBKFNGjmIj68UloyYEAAAAAAADAAAAAAADAAAABAADAAEA////////BQAAAAMAEAALQkgyknghCUCSL6vaFRFJQAQAAAABAAMAAAAEAAMAAAABAAQAAQD///////8FAAAABAAQAAtY86Zqpy1fTZwIWap+/Ewz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NyIOwEoU0aOYiPrxSWjJgREYXRhAAUAAAAAAk5hbWUADQAAAExpbmtEYXRhTGlzdAAQVmVyc2lvbgAAAAAACUxhc3RXcml0ZQA+cIIHmwEAAAABAP////9hAGEAAAAFX2lkABAAAAAEQkgyknghCUCSL6vaFRFJQAREYXRhAAUAAAAAAk5hbWUADQAAAExpbmtEYXRhTGlzdAAQVmVyc2lvbgABAAAACUxhc3RXcml0ZQA/cIIHmwEAAAACAP////9wAHAAAAAFX2lkABAAAAAEWPOmaqctX02cCFmqfvxMMwNEYXRhABYAAAACUGVyc29uYWxJZAABAAAAAAACTmFtZQALAAAAUGVyc29uYWxJZAAQVmVyc2lvbgAAAAAACUxhc3RXcml0ZQBdcIIH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09543476318338"/>
  <p:tag name="EMPOWERCHARTSPROPERTIES_B_LENGTH" val="24576"/>
  <p:tag name="DOWN_MIGRATION_INITIAL_LAYOUT_REQUIRED" val="9.2.99"/>
  <p:tag name="RUNTIME_ID" val="f363c70c-aabe-4b14-9396-cbd72c84611e"/>
</p:tagLst>
</file>

<file path=ppt/tags/tag81.xml><?xml version="1.0" encoding="utf-8"?>
<p:tagLst xmlns:a="http://schemas.openxmlformats.org/drawingml/2006/main" xmlns:r="http://schemas.openxmlformats.org/officeDocument/2006/relationships" xmlns:p="http://schemas.openxmlformats.org/presentationml/2006/main">
  <p:tag name="SHAPEINFOGUID" val="d6ee1574-6d30-4b0f-b4a2-9b25e6299a46"/>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heme/theme1.xml><?xml version="1.0" encoding="utf-8"?>
<a:theme xmlns:a="http://schemas.openxmlformats.org/drawingml/2006/main" name="Solace Covers">
  <a:themeElements>
    <a:clrScheme name="ARIS - NEW">
      <a:dk1>
        <a:srgbClr val="002F2C"/>
      </a:dk1>
      <a:lt1>
        <a:sysClr val="window" lastClr="FFFFFF"/>
      </a:lt1>
      <a:dk2>
        <a:srgbClr val="002F2C"/>
      </a:dk2>
      <a:lt2>
        <a:srgbClr val="FBF3E2"/>
      </a:lt2>
      <a:accent1>
        <a:srgbClr val="FF5689"/>
      </a:accent1>
      <a:accent2>
        <a:srgbClr val="6ED2FA"/>
      </a:accent2>
      <a:accent3>
        <a:srgbClr val="FFDC23"/>
      </a:accent3>
      <a:accent4>
        <a:srgbClr val="FF78F0"/>
      </a:accent4>
      <a:accent5>
        <a:srgbClr val="A0F0AA"/>
      </a:accent5>
      <a:accent6>
        <a:srgbClr val="FF8732"/>
      </a:accent6>
      <a:hlink>
        <a:srgbClr val="002F2C"/>
      </a:hlink>
      <a:folHlink>
        <a:srgbClr val="FF5689"/>
      </a:folHlink>
    </a:clrScheme>
    <a:fontScheme name="ARIS - NEW">
      <a:majorFont>
        <a:latin typeface="Inter"/>
        <a:ea typeface=""/>
        <a:cs typeface=""/>
      </a:majorFont>
      <a:minorFont>
        <a:latin typeface="Crimson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600" dirty="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6c2775-93ba-4df2-a32f-da9ed8b41015" xsi:nil="true"/>
    <lcf76f155ced4ddcb4097134ff3c332f xmlns="12938393-8ee3-49ce-a32c-55fe3562b5aa">
      <Terms xmlns="http://schemas.microsoft.com/office/infopath/2007/PartnerControls"/>
    </lcf76f155ced4ddcb4097134ff3c332f>
    <_Flow_SignoffStatus xmlns="faccde07-b37e-4bf6-9b4c-37b3b03083d3" xsi:nil="true"/>
    <Status xmlns="faccde07-b37e-4bf6-9b4c-37b3b03083d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876F5AC81C1C6438527890AD904D18B" ma:contentTypeVersion="4" ma:contentTypeDescription="Create a new document." ma:contentTypeScope="" ma:versionID="0e85b862dec20523416211659e1f838f">
  <xsd:schema xmlns:xsd="http://www.w3.org/2001/XMLSchema" xmlns:xs="http://www.w3.org/2001/XMLSchema" xmlns:p="http://schemas.microsoft.com/office/2006/metadata/properties" xmlns:ns2="4aed7fba-4b23-47a0-943e-b38138093b99" xmlns:ns3="faccde07-b37e-4bf6-9b4c-37b3b03083d3" xmlns:ns4="12938393-8ee3-49ce-a32c-55fe3562b5aa" xmlns:ns5="476c2775-93ba-4df2-a32f-da9ed8b41015" targetNamespace="http://schemas.microsoft.com/office/2006/metadata/properties" ma:root="true" ma:fieldsID="1915393e0ca325996c056d911eb1917c" ns2:_="" ns3:_="" ns4:_="" ns5:_="">
    <xsd:import namespace="4aed7fba-4b23-47a0-943e-b38138093b99"/>
    <xsd:import namespace="faccde07-b37e-4bf6-9b4c-37b3b03083d3"/>
    <xsd:import namespace="12938393-8ee3-49ce-a32c-55fe3562b5aa"/>
    <xsd:import namespace="476c2775-93ba-4df2-a32f-da9ed8b4101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Status" minOccurs="0"/>
                <xsd:element ref="ns3:_Flow_SignoffStatus" minOccurs="0"/>
                <xsd:element ref="ns3:MediaServiceObjectDetectorVersions" minOccurs="0"/>
                <xsd:element ref="ns3:MediaServiceSearchProperties" minOccurs="0"/>
                <xsd:element ref="ns3:MediaServiceBillingMetadata" minOccurs="0"/>
                <xsd:element ref="ns4:lcf76f155ced4ddcb4097134ff3c332f" minOccurs="0"/>
                <xsd:element ref="ns5: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ed7fba-4b23-47a0-943e-b38138093b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ccde07-b37e-4bf6-9b4c-37b3b03083d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Status" ma:index="21" nillable="true" ma:displayName="Status" ma:internalName="Status">
      <xsd:simpleType>
        <xsd:restriction base="dms:Text">
          <xsd:maxLength value="255"/>
        </xsd:restriction>
      </xsd:simpleType>
    </xsd:element>
    <xsd:element name="_Flow_SignoffStatus" ma:index="22" nillable="true" ma:displayName="Sign-off status" ma:internalName="Sign_x002d_off_x0020_status">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2938393-8ee3-49ce-a32c-55fe3562b5aa" elementFormDefault="qualified">
    <xsd:import namespace="http://schemas.microsoft.com/office/2006/documentManagement/types"/>
    <xsd:import namespace="http://schemas.microsoft.com/office/infopath/2007/PartnerControls"/>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f9f3a7db-bd27-4868-baf0-b383258eff6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76c2775-93ba-4df2-a32f-da9ed8b41015"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ffd5c315-421b-4cfd-a7de-5eed2a104df0}" ma:internalName="TaxCatchAll" ma:showField="CatchAllData" ma:web="476c2775-93ba-4df2-a32f-da9ed8b410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A28DF5-C5DF-41F4-AD7F-3D1DCADBD7C4}">
  <ds:schemaRefs>
    <ds:schemaRef ds:uri="http://schemas.microsoft.com/sharepoint/v3/contenttype/forms"/>
  </ds:schemaRefs>
</ds:datastoreItem>
</file>

<file path=customXml/itemProps2.xml><?xml version="1.0" encoding="utf-8"?>
<ds:datastoreItem xmlns:ds="http://schemas.openxmlformats.org/officeDocument/2006/customXml" ds:itemID="{72BF9C78-DE9E-4AC0-8FE1-15149BDCE434}">
  <ds:schemaRefs>
    <ds:schemaRef ds:uri="http://purl.org/dc/elements/1.1/"/>
    <ds:schemaRef ds:uri="ffbc1c29-3a73-4f4e-9c40-9f5e234d0c28"/>
    <ds:schemaRef ds:uri="http://purl.org/dc/dcmitype/"/>
    <ds:schemaRef ds:uri="http://schemas.microsoft.com/office/2006/metadata/properties"/>
    <ds:schemaRef ds:uri="http://schemas.microsoft.com/office/2006/documentManagement/types"/>
    <ds:schemaRef ds:uri="09ac39dc-dacc-45c2-8348-9a2b79b7588d"/>
    <ds:schemaRef ds:uri="http://purl.org/dc/terms/"/>
    <ds:schemaRef ds:uri="http://schemas.microsoft.com/office/infopath/2007/PartnerControls"/>
    <ds:schemaRef ds:uri="http://schemas.openxmlformats.org/package/2006/metadata/core-properties"/>
    <ds:schemaRef ds:uri="http://www.w3.org/XML/1998/namespace"/>
    <ds:schemaRef ds:uri="476c2775-93ba-4df2-a32f-da9ed8b41015"/>
    <ds:schemaRef ds:uri="12938393-8ee3-49ce-a32c-55fe3562b5aa"/>
    <ds:schemaRef ds:uri="faccde07-b37e-4bf6-9b4c-37b3b03083d3"/>
  </ds:schemaRefs>
</ds:datastoreItem>
</file>

<file path=customXml/itemProps3.xml><?xml version="1.0" encoding="utf-8"?>
<ds:datastoreItem xmlns:ds="http://schemas.openxmlformats.org/officeDocument/2006/customXml" ds:itemID="{AF4D51B5-1EC1-4EB4-AAFE-5A4D30647E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ed7fba-4b23-47a0-943e-b38138093b99"/>
    <ds:schemaRef ds:uri="faccde07-b37e-4bf6-9b4c-37b3b03083d3"/>
    <ds:schemaRef ds:uri="12938393-8ee3-49ce-a32c-55fe3562b5aa"/>
    <ds:schemaRef ds:uri="476c2775-93ba-4df2-a32f-da9ed8b410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cf9e2729-105b-426c-9ae0-d11696f132a0}" enabled="1" method="Standard" siteId="{11ea7971-c897-4c61-b214-f753c8cc3671}" removed="0"/>
  <clbl:label id="{ee9ddd37-01c2-47a1-893c-5c0bdc1f6d39}" enabled="1" method="Privileged" siteId="{d9662eb9-ad98-4e74-a8a2-04ed5d544db6}"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956</Words>
  <Application>Microsoft Office PowerPoint</Application>
  <PresentationFormat>Widescreen</PresentationFormat>
  <Paragraphs>124</Paragraphs>
  <Slides>10</Slides>
  <Notes>3</Notes>
  <HiddenSlides>0</HiddenSlides>
  <MMClips>1</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vt:i4>
      </vt:variant>
    </vt:vector>
  </HeadingPairs>
  <TitlesOfParts>
    <vt:vector size="18" baseType="lpstr">
      <vt:lpstr>Arial</vt:lpstr>
      <vt:lpstr>Calibri</vt:lpstr>
      <vt:lpstr>Crimson Pro (Body)</vt:lpstr>
      <vt:lpstr>Inter</vt:lpstr>
      <vt:lpstr>Segoe UI</vt:lpstr>
      <vt:lpstr>Aptos</vt:lpstr>
      <vt:lpstr>Crimson Pro</vt:lpstr>
      <vt:lpstr>Solace Covers</vt:lpstr>
      <vt:lpstr>ARIS Simulation</vt:lpstr>
      <vt:lpstr>ARIS Simulation (2026)</vt:lpstr>
      <vt:lpstr>Benefits of the ARIS Simulation</vt:lpstr>
      <vt:lpstr>Use Case: Processing of incoming invoices</vt:lpstr>
      <vt:lpstr>Use Case: Evidence-Based Automation Choice</vt:lpstr>
      <vt:lpstr>Use Case: Evidence-Based Automation Choice </vt:lpstr>
      <vt:lpstr>Use Case: Evidence-Based Automation Choice</vt:lpstr>
      <vt:lpstr>Use Case: Evidence-Based Automation Choice</vt:lpstr>
      <vt:lpstr>PowerPoint Presentation</vt:lpstr>
      <vt:lpstr>PowerPoint Presentation</vt:lpstr>
    </vt:vector>
  </TitlesOfParts>
  <Company>SAG ARIS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nson, Luke</dc:creator>
  <cp:lastModifiedBy>Scheid, Martin</cp:lastModifiedBy>
  <cp:revision>12</cp:revision>
  <dcterms:created xsi:type="dcterms:W3CDTF">2026-01-08T14:14:14Z</dcterms:created>
  <dcterms:modified xsi:type="dcterms:W3CDTF">2026-02-09T10: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76F5AC81C1C6438527890AD904D18B</vt:lpwstr>
  </property>
  <property fmtid="{D5CDD505-2E9C-101B-9397-08002B2CF9AE}" pid="3" name="MediaServiceImageTags">
    <vt:lpwstr/>
  </property>
</Properties>
</file>